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3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4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6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7.xml" ContentType="application/vnd.openxmlformats-officedocument.theme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9" r:id="rId4"/>
    <p:sldMasterId id="2147483731" r:id="rId5"/>
    <p:sldMasterId id="2147483746" r:id="rId6"/>
    <p:sldMasterId id="2147483797" r:id="rId7"/>
    <p:sldMasterId id="2147483805" r:id="rId8"/>
    <p:sldMasterId id="2147483810" r:id="rId9"/>
    <p:sldMasterId id="2147483820" r:id="rId10"/>
    <p:sldMasterId id="2147483843" r:id="rId11"/>
  </p:sldMasterIdLst>
  <p:notesMasterIdLst>
    <p:notesMasterId r:id="rId36"/>
  </p:notesMasterIdLst>
  <p:sldIdLst>
    <p:sldId id="256" r:id="rId12"/>
    <p:sldId id="309" r:id="rId13"/>
    <p:sldId id="308" r:id="rId14"/>
    <p:sldId id="257" r:id="rId15"/>
    <p:sldId id="4923" r:id="rId16"/>
    <p:sldId id="1726328283" r:id="rId17"/>
    <p:sldId id="1726328285" r:id="rId18"/>
    <p:sldId id="924" r:id="rId19"/>
    <p:sldId id="1726328312" r:id="rId20"/>
    <p:sldId id="931" r:id="rId21"/>
    <p:sldId id="1726328321" r:id="rId22"/>
    <p:sldId id="929" r:id="rId23"/>
    <p:sldId id="318" r:id="rId24"/>
    <p:sldId id="1726328315" r:id="rId25"/>
    <p:sldId id="1726328317" r:id="rId26"/>
    <p:sldId id="1726328318" r:id="rId27"/>
    <p:sldId id="1726328319" r:id="rId28"/>
    <p:sldId id="1726328320" r:id="rId29"/>
    <p:sldId id="1726328316" r:id="rId30"/>
    <p:sldId id="909" r:id="rId31"/>
    <p:sldId id="326" r:id="rId32"/>
    <p:sldId id="4922" r:id="rId33"/>
    <p:sldId id="304" r:id="rId34"/>
    <p:sldId id="306" r:id="rId35"/>
  </p:sldIdLst>
  <p:sldSz cx="12192000" cy="6858000"/>
  <p:notesSz cx="6858000" cy="9144000"/>
  <p:defaultTextStyle>
    <a:defPPr>
      <a:defRPr lang="en-GB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FF15388-0A2F-4B64-BEF8-C959A0B212D9}" v="4" dt="2026-06-30T10:26:59.96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9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theme" Target="theme/theme1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microsoft.com/office/2015/10/relationships/revisionInfo" Target="revisionInfo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41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notesMaster" Target="notesMasters/notesMaster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issa Morris" userId="987d8a31-a5ba-42f0-bf53-4819055b8204" providerId="ADAL" clId="{629069E5-5C9F-4493-BA2C-4E70EC8CF099}"/>
    <pc:docChg chg="undo custSel addSld delSld modSld sldOrd delMainMaster modMainMaster">
      <pc:chgData name="Anissa Morris" userId="987d8a31-a5ba-42f0-bf53-4819055b8204" providerId="ADAL" clId="{629069E5-5C9F-4493-BA2C-4E70EC8CF099}" dt="2026-06-30T10:27:24.410" v="262" actId="47"/>
      <pc:docMkLst>
        <pc:docMk/>
      </pc:docMkLst>
      <pc:sldChg chg="modSp mod">
        <pc:chgData name="Anissa Morris" userId="987d8a31-a5ba-42f0-bf53-4819055b8204" providerId="ADAL" clId="{629069E5-5C9F-4493-BA2C-4E70EC8CF099}" dt="2026-06-30T08:50:19.002" v="169" actId="1076"/>
        <pc:sldMkLst>
          <pc:docMk/>
          <pc:sldMk cId="774191116" sldId="256"/>
        </pc:sldMkLst>
        <pc:spChg chg="mod">
          <ac:chgData name="Anissa Morris" userId="987d8a31-a5ba-42f0-bf53-4819055b8204" providerId="ADAL" clId="{629069E5-5C9F-4493-BA2C-4E70EC8CF099}" dt="2026-06-30T08:50:19.002" v="169" actId="1076"/>
          <ac:spMkLst>
            <pc:docMk/>
            <pc:sldMk cId="774191116" sldId="256"/>
            <ac:spMk id="2" creationId="{83D9E3C3-02E7-07E0-8C9E-F166FC1DD1A9}"/>
          </ac:spMkLst>
        </pc:spChg>
        <pc:spChg chg="mod">
          <ac:chgData name="Anissa Morris" userId="987d8a31-a5ba-42f0-bf53-4819055b8204" providerId="ADAL" clId="{629069E5-5C9F-4493-BA2C-4E70EC8CF099}" dt="2026-06-30T08:50:16.162" v="168" actId="1076"/>
          <ac:spMkLst>
            <pc:docMk/>
            <pc:sldMk cId="774191116" sldId="256"/>
            <ac:spMk id="3" creationId="{BD4DE421-41B1-053F-03DB-7BC36BA4EA56}"/>
          </ac:spMkLst>
        </pc:spChg>
      </pc:sldChg>
      <pc:sldChg chg="modSp mod">
        <pc:chgData name="Anissa Morris" userId="987d8a31-a5ba-42f0-bf53-4819055b8204" providerId="ADAL" clId="{629069E5-5C9F-4493-BA2C-4E70EC8CF099}" dt="2026-06-30T10:25:34.004" v="233"/>
        <pc:sldMkLst>
          <pc:docMk/>
          <pc:sldMk cId="32917369" sldId="257"/>
        </pc:sldMkLst>
        <pc:spChg chg="mod">
          <ac:chgData name="Anissa Morris" userId="987d8a31-a5ba-42f0-bf53-4819055b8204" providerId="ADAL" clId="{629069E5-5C9F-4493-BA2C-4E70EC8CF099}" dt="2026-06-30T10:25:34.004" v="233"/>
          <ac:spMkLst>
            <pc:docMk/>
            <pc:sldMk cId="32917369" sldId="257"/>
            <ac:spMk id="2" creationId="{B732488F-E5C2-3CBD-5EA9-4F9B210CB971}"/>
          </ac:spMkLst>
        </pc:spChg>
      </pc:sldChg>
      <pc:sldChg chg="del">
        <pc:chgData name="Anissa Morris" userId="987d8a31-a5ba-42f0-bf53-4819055b8204" providerId="ADAL" clId="{629069E5-5C9F-4493-BA2C-4E70EC8CF099}" dt="2026-06-30T08:40:21.674" v="87" actId="47"/>
        <pc:sldMkLst>
          <pc:docMk/>
          <pc:sldMk cId="0" sldId="260"/>
        </pc:sldMkLst>
      </pc:sldChg>
      <pc:sldChg chg="del">
        <pc:chgData name="Anissa Morris" userId="987d8a31-a5ba-42f0-bf53-4819055b8204" providerId="ADAL" clId="{629069E5-5C9F-4493-BA2C-4E70EC8CF099}" dt="2026-06-30T08:40:21.873" v="88" actId="47"/>
        <pc:sldMkLst>
          <pc:docMk/>
          <pc:sldMk cId="0" sldId="261"/>
        </pc:sldMkLst>
      </pc:sldChg>
      <pc:sldChg chg="del">
        <pc:chgData name="Anissa Morris" userId="987d8a31-a5ba-42f0-bf53-4819055b8204" providerId="ADAL" clId="{629069E5-5C9F-4493-BA2C-4E70EC8CF099}" dt="2026-06-30T08:40:22.073" v="89" actId="47"/>
        <pc:sldMkLst>
          <pc:docMk/>
          <pc:sldMk cId="0" sldId="262"/>
        </pc:sldMkLst>
      </pc:sldChg>
      <pc:sldChg chg="del">
        <pc:chgData name="Anissa Morris" userId="987d8a31-a5ba-42f0-bf53-4819055b8204" providerId="ADAL" clId="{629069E5-5C9F-4493-BA2C-4E70EC8CF099}" dt="2026-06-30T08:40:22.312" v="90" actId="47"/>
        <pc:sldMkLst>
          <pc:docMk/>
          <pc:sldMk cId="0" sldId="263"/>
        </pc:sldMkLst>
      </pc:sldChg>
      <pc:sldChg chg="del">
        <pc:chgData name="Anissa Morris" userId="987d8a31-a5ba-42f0-bf53-4819055b8204" providerId="ADAL" clId="{629069E5-5C9F-4493-BA2C-4E70EC8CF099}" dt="2026-06-30T08:40:23.010" v="92" actId="47"/>
        <pc:sldMkLst>
          <pc:docMk/>
          <pc:sldMk cId="0" sldId="266"/>
        </pc:sldMkLst>
      </pc:sldChg>
      <pc:sldChg chg="del">
        <pc:chgData name="Anissa Morris" userId="987d8a31-a5ba-42f0-bf53-4819055b8204" providerId="ADAL" clId="{629069E5-5C9F-4493-BA2C-4E70EC8CF099}" dt="2026-06-30T08:40:21.236" v="85" actId="47"/>
        <pc:sldMkLst>
          <pc:docMk/>
          <pc:sldMk cId="0" sldId="268"/>
        </pc:sldMkLst>
      </pc:sldChg>
      <pc:sldChg chg="del">
        <pc:chgData name="Anissa Morris" userId="987d8a31-a5ba-42f0-bf53-4819055b8204" providerId="ADAL" clId="{629069E5-5C9F-4493-BA2C-4E70EC8CF099}" dt="2026-06-30T08:40:22.522" v="91" actId="47"/>
        <pc:sldMkLst>
          <pc:docMk/>
          <pc:sldMk cId="3377143714" sldId="291"/>
        </pc:sldMkLst>
      </pc:sldChg>
      <pc:sldChg chg="del">
        <pc:chgData name="Anissa Morris" userId="987d8a31-a5ba-42f0-bf53-4819055b8204" providerId="ADAL" clId="{629069E5-5C9F-4493-BA2C-4E70EC8CF099}" dt="2026-06-30T08:40:36.433" v="97" actId="47"/>
        <pc:sldMkLst>
          <pc:docMk/>
          <pc:sldMk cId="2055052353" sldId="300"/>
        </pc:sldMkLst>
      </pc:sldChg>
      <pc:sldChg chg="del ord">
        <pc:chgData name="Anissa Morris" userId="987d8a31-a5ba-42f0-bf53-4819055b8204" providerId="ADAL" clId="{629069E5-5C9F-4493-BA2C-4E70EC8CF099}" dt="2026-06-30T08:40:14.654" v="56" actId="47"/>
        <pc:sldMkLst>
          <pc:docMk/>
          <pc:sldMk cId="1773470636" sldId="301"/>
        </pc:sldMkLst>
      </pc:sldChg>
      <pc:sldChg chg="add del">
        <pc:chgData name="Anissa Morris" userId="987d8a31-a5ba-42f0-bf53-4819055b8204" providerId="ADAL" clId="{629069E5-5C9F-4493-BA2C-4E70EC8CF099}" dt="2026-06-30T10:26:48.291" v="254" actId="47"/>
        <pc:sldMkLst>
          <pc:docMk/>
          <pc:sldMk cId="2934567408" sldId="304"/>
        </pc:sldMkLst>
      </pc:sldChg>
      <pc:sldChg chg="modSp mod">
        <pc:chgData name="Anissa Morris" userId="987d8a31-a5ba-42f0-bf53-4819055b8204" providerId="ADAL" clId="{629069E5-5C9F-4493-BA2C-4E70EC8CF099}" dt="2026-06-30T08:39:01.628" v="42" actId="20577"/>
        <pc:sldMkLst>
          <pc:docMk/>
          <pc:sldMk cId="2198390611" sldId="309"/>
        </pc:sldMkLst>
        <pc:spChg chg="mod">
          <ac:chgData name="Anissa Morris" userId="987d8a31-a5ba-42f0-bf53-4819055b8204" providerId="ADAL" clId="{629069E5-5C9F-4493-BA2C-4E70EC8CF099}" dt="2026-06-30T08:39:01.628" v="42" actId="20577"/>
          <ac:spMkLst>
            <pc:docMk/>
            <pc:sldMk cId="2198390611" sldId="309"/>
            <ac:spMk id="2" creationId="{B732488F-E5C2-3CBD-5EA9-4F9B210CB971}"/>
          </ac:spMkLst>
        </pc:spChg>
      </pc:sldChg>
      <pc:sldChg chg="del">
        <pc:chgData name="Anissa Morris" userId="987d8a31-a5ba-42f0-bf53-4819055b8204" providerId="ADAL" clId="{629069E5-5C9F-4493-BA2C-4E70EC8CF099}" dt="2026-06-30T08:40:15.269" v="57" actId="47"/>
        <pc:sldMkLst>
          <pc:docMk/>
          <pc:sldMk cId="3088056768" sldId="311"/>
        </pc:sldMkLst>
      </pc:sldChg>
      <pc:sldChg chg="del">
        <pc:chgData name="Anissa Morris" userId="987d8a31-a5ba-42f0-bf53-4819055b8204" providerId="ADAL" clId="{629069E5-5C9F-4493-BA2C-4E70EC8CF099}" dt="2026-06-30T08:40:15.488" v="58" actId="47"/>
        <pc:sldMkLst>
          <pc:docMk/>
          <pc:sldMk cId="2791916796" sldId="312"/>
        </pc:sldMkLst>
      </pc:sldChg>
      <pc:sldChg chg="del">
        <pc:chgData name="Anissa Morris" userId="987d8a31-a5ba-42f0-bf53-4819055b8204" providerId="ADAL" clId="{629069E5-5C9F-4493-BA2C-4E70EC8CF099}" dt="2026-06-30T08:40:15.795" v="59" actId="47"/>
        <pc:sldMkLst>
          <pc:docMk/>
          <pc:sldMk cId="2448998346" sldId="313"/>
        </pc:sldMkLst>
      </pc:sldChg>
      <pc:sldChg chg="del">
        <pc:chgData name="Anissa Morris" userId="987d8a31-a5ba-42f0-bf53-4819055b8204" providerId="ADAL" clId="{629069E5-5C9F-4493-BA2C-4E70EC8CF099}" dt="2026-06-30T08:40:16.020" v="60" actId="47"/>
        <pc:sldMkLst>
          <pc:docMk/>
          <pc:sldMk cId="2764004294" sldId="314"/>
        </pc:sldMkLst>
      </pc:sldChg>
      <pc:sldChg chg="del">
        <pc:chgData name="Anissa Morris" userId="987d8a31-a5ba-42f0-bf53-4819055b8204" providerId="ADAL" clId="{629069E5-5C9F-4493-BA2C-4E70EC8CF099}" dt="2026-06-30T08:40:17.373" v="65" actId="47"/>
        <pc:sldMkLst>
          <pc:docMk/>
          <pc:sldMk cId="3673277633" sldId="317"/>
        </pc:sldMkLst>
      </pc:sldChg>
      <pc:sldChg chg="del">
        <pc:chgData name="Anissa Morris" userId="987d8a31-a5ba-42f0-bf53-4819055b8204" providerId="ADAL" clId="{629069E5-5C9F-4493-BA2C-4E70EC8CF099}" dt="2026-06-30T08:40:17.629" v="66" actId="47"/>
        <pc:sldMkLst>
          <pc:docMk/>
          <pc:sldMk cId="1558740745" sldId="318"/>
        </pc:sldMkLst>
      </pc:sldChg>
      <pc:sldChg chg="add del">
        <pc:chgData name="Anissa Morris" userId="987d8a31-a5ba-42f0-bf53-4819055b8204" providerId="ADAL" clId="{629069E5-5C9F-4493-BA2C-4E70EC8CF099}" dt="2026-06-30T10:26:59.903" v="258"/>
        <pc:sldMkLst>
          <pc:docMk/>
          <pc:sldMk cId="2462745934" sldId="318"/>
        </pc:sldMkLst>
      </pc:sldChg>
      <pc:sldChg chg="del">
        <pc:chgData name="Anissa Morris" userId="987d8a31-a5ba-42f0-bf53-4819055b8204" providerId="ADAL" clId="{629069E5-5C9F-4493-BA2C-4E70EC8CF099}" dt="2026-06-30T08:40:17.857" v="67" actId="47"/>
        <pc:sldMkLst>
          <pc:docMk/>
          <pc:sldMk cId="835323218" sldId="319"/>
        </pc:sldMkLst>
      </pc:sldChg>
      <pc:sldChg chg="del">
        <pc:chgData name="Anissa Morris" userId="987d8a31-a5ba-42f0-bf53-4819055b8204" providerId="ADAL" clId="{629069E5-5C9F-4493-BA2C-4E70EC8CF099}" dt="2026-06-30T08:40:24.210" v="96" actId="47"/>
        <pc:sldMkLst>
          <pc:docMk/>
          <pc:sldMk cId="3512066395" sldId="320"/>
        </pc:sldMkLst>
      </pc:sldChg>
      <pc:sldChg chg="del">
        <pc:chgData name="Anissa Morris" userId="987d8a31-a5ba-42f0-bf53-4819055b8204" providerId="ADAL" clId="{629069E5-5C9F-4493-BA2C-4E70EC8CF099}" dt="2026-06-30T08:40:21.463" v="86" actId="47"/>
        <pc:sldMkLst>
          <pc:docMk/>
          <pc:sldMk cId="3734753784" sldId="322"/>
        </pc:sldMkLst>
      </pc:sldChg>
      <pc:sldChg chg="del">
        <pc:chgData name="Anissa Morris" userId="987d8a31-a5ba-42f0-bf53-4819055b8204" providerId="ADAL" clId="{629069E5-5C9F-4493-BA2C-4E70EC8CF099}" dt="2026-06-30T08:40:21.044" v="84" actId="47"/>
        <pc:sldMkLst>
          <pc:docMk/>
          <pc:sldMk cId="2480573144" sldId="323"/>
        </pc:sldMkLst>
      </pc:sldChg>
      <pc:sldChg chg="modSp add del mod">
        <pc:chgData name="Anissa Morris" userId="987d8a31-a5ba-42f0-bf53-4819055b8204" providerId="ADAL" clId="{629069E5-5C9F-4493-BA2C-4E70EC8CF099}" dt="2026-06-30T10:26:59.903" v="258"/>
        <pc:sldMkLst>
          <pc:docMk/>
          <pc:sldMk cId="947859254" sldId="326"/>
        </pc:sldMkLst>
        <pc:spChg chg="mod">
          <ac:chgData name="Anissa Morris" userId="987d8a31-a5ba-42f0-bf53-4819055b8204" providerId="ADAL" clId="{629069E5-5C9F-4493-BA2C-4E70EC8CF099}" dt="2026-06-30T10:24:48.465" v="206" actId="27636"/>
          <ac:spMkLst>
            <pc:docMk/>
            <pc:sldMk cId="947859254" sldId="326"/>
            <ac:spMk id="2" creationId="{1DC40E74-50DB-4442-A7E6-9A8C70C3410B}"/>
          </ac:spMkLst>
        </pc:spChg>
      </pc:sldChg>
      <pc:sldChg chg="modSp add del mod">
        <pc:chgData name="Anissa Morris" userId="987d8a31-a5ba-42f0-bf53-4819055b8204" providerId="ADAL" clId="{629069E5-5C9F-4493-BA2C-4E70EC8CF099}" dt="2026-06-30T10:26:59.903" v="258"/>
        <pc:sldMkLst>
          <pc:docMk/>
          <pc:sldMk cId="2344841721" sldId="909"/>
        </pc:sldMkLst>
        <pc:spChg chg="mod">
          <ac:chgData name="Anissa Morris" userId="987d8a31-a5ba-42f0-bf53-4819055b8204" providerId="ADAL" clId="{629069E5-5C9F-4493-BA2C-4E70EC8CF099}" dt="2026-06-30T10:24:48.445" v="204" actId="27636"/>
          <ac:spMkLst>
            <pc:docMk/>
            <pc:sldMk cId="2344841721" sldId="909"/>
            <ac:spMk id="2" creationId="{1DC40E74-50DB-4442-A7E6-9A8C70C3410B}"/>
          </ac:spMkLst>
        </pc:spChg>
        <pc:spChg chg="mod">
          <ac:chgData name="Anissa Morris" userId="987d8a31-a5ba-42f0-bf53-4819055b8204" providerId="ADAL" clId="{629069E5-5C9F-4493-BA2C-4E70EC8CF099}" dt="2026-06-30T10:24:48.461" v="205" actId="27636"/>
          <ac:spMkLst>
            <pc:docMk/>
            <pc:sldMk cId="2344841721" sldId="909"/>
            <ac:spMk id="6" creationId="{04F3D615-43ED-2F4D-833E-4195F0E6FA05}"/>
          </ac:spMkLst>
        </pc:spChg>
      </pc:sldChg>
      <pc:sldChg chg="modSp add del mod">
        <pc:chgData name="Anissa Morris" userId="987d8a31-a5ba-42f0-bf53-4819055b8204" providerId="ADAL" clId="{629069E5-5C9F-4493-BA2C-4E70EC8CF099}" dt="2026-06-30T10:26:59.903" v="258"/>
        <pc:sldMkLst>
          <pc:docMk/>
          <pc:sldMk cId="1272062450" sldId="924"/>
        </pc:sldMkLst>
        <pc:spChg chg="mod">
          <ac:chgData name="Anissa Morris" userId="987d8a31-a5ba-42f0-bf53-4819055b8204" providerId="ADAL" clId="{629069E5-5C9F-4493-BA2C-4E70EC8CF099}" dt="2026-06-30T10:24:48.277" v="184" actId="27636"/>
          <ac:spMkLst>
            <pc:docMk/>
            <pc:sldMk cId="1272062450" sldId="924"/>
            <ac:spMk id="4" creationId="{2EE4090C-8430-A413-E4DD-CB023C477705}"/>
          </ac:spMkLst>
        </pc:spChg>
        <pc:spChg chg="mod">
          <ac:chgData name="Anissa Morris" userId="987d8a31-a5ba-42f0-bf53-4819055b8204" providerId="ADAL" clId="{629069E5-5C9F-4493-BA2C-4E70EC8CF099}" dt="2026-06-30T10:24:48.299" v="186" actId="27636"/>
          <ac:spMkLst>
            <pc:docMk/>
            <pc:sldMk cId="1272062450" sldId="924"/>
            <ac:spMk id="8" creationId="{FC64E9A6-5111-F932-24DD-445BED08B619}"/>
          </ac:spMkLst>
        </pc:spChg>
        <pc:spChg chg="mod">
          <ac:chgData name="Anissa Morris" userId="987d8a31-a5ba-42f0-bf53-4819055b8204" providerId="ADAL" clId="{629069E5-5C9F-4493-BA2C-4E70EC8CF099}" dt="2026-06-30T10:24:48.266" v="181" actId="27636"/>
          <ac:spMkLst>
            <pc:docMk/>
            <pc:sldMk cId="1272062450" sldId="924"/>
            <ac:spMk id="10" creationId="{A834B575-8CB7-F836-7344-4900CD926807}"/>
          </ac:spMkLst>
        </pc:spChg>
        <pc:spChg chg="mod">
          <ac:chgData name="Anissa Morris" userId="987d8a31-a5ba-42f0-bf53-4819055b8204" providerId="ADAL" clId="{629069E5-5C9F-4493-BA2C-4E70EC8CF099}" dt="2026-06-30T10:24:48.294" v="185" actId="27636"/>
          <ac:spMkLst>
            <pc:docMk/>
            <pc:sldMk cId="1272062450" sldId="924"/>
            <ac:spMk id="11" creationId="{D099D91C-E11B-EE5A-9D5A-193DA7406D6C}"/>
          </ac:spMkLst>
        </pc:spChg>
        <pc:spChg chg="mod">
          <ac:chgData name="Anissa Morris" userId="987d8a31-a5ba-42f0-bf53-4819055b8204" providerId="ADAL" clId="{629069E5-5C9F-4493-BA2C-4E70EC8CF099}" dt="2026-06-30T10:24:48.275" v="183" actId="27636"/>
          <ac:spMkLst>
            <pc:docMk/>
            <pc:sldMk cId="1272062450" sldId="924"/>
            <ac:spMk id="12" creationId="{8DD3F961-A68B-8500-D51B-E308FE62D9A8}"/>
          </ac:spMkLst>
        </pc:spChg>
        <pc:spChg chg="mod">
          <ac:chgData name="Anissa Morris" userId="987d8a31-a5ba-42f0-bf53-4819055b8204" providerId="ADAL" clId="{629069E5-5C9F-4493-BA2C-4E70EC8CF099}" dt="2026-06-30T10:24:48.269" v="182" actId="27636"/>
          <ac:spMkLst>
            <pc:docMk/>
            <pc:sldMk cId="1272062450" sldId="924"/>
            <ac:spMk id="13" creationId="{EA0D3CDD-87A4-DEBE-307C-8201E70892A1}"/>
          </ac:spMkLst>
        </pc:spChg>
        <pc:spChg chg="mod">
          <ac:chgData name="Anissa Morris" userId="987d8a31-a5ba-42f0-bf53-4819055b8204" providerId="ADAL" clId="{629069E5-5C9F-4493-BA2C-4E70EC8CF099}" dt="2026-06-30T10:24:48.306" v="187" actId="27636"/>
          <ac:spMkLst>
            <pc:docMk/>
            <pc:sldMk cId="1272062450" sldId="924"/>
            <ac:spMk id="15" creationId="{F6245044-5B10-BE6C-2F8F-F2AC8C23A0EB}"/>
          </ac:spMkLst>
        </pc:spChg>
      </pc:sldChg>
      <pc:sldChg chg="modSp add del mod">
        <pc:chgData name="Anissa Morris" userId="987d8a31-a5ba-42f0-bf53-4819055b8204" providerId="ADAL" clId="{629069E5-5C9F-4493-BA2C-4E70EC8CF099}" dt="2026-06-30T10:26:59.903" v="258"/>
        <pc:sldMkLst>
          <pc:docMk/>
          <pc:sldMk cId="3900000265" sldId="929"/>
        </pc:sldMkLst>
        <pc:spChg chg="mod">
          <ac:chgData name="Anissa Morris" userId="987d8a31-a5ba-42f0-bf53-4819055b8204" providerId="ADAL" clId="{629069E5-5C9F-4493-BA2C-4E70EC8CF099}" dt="2026-06-30T10:24:48.372" v="192" actId="27636"/>
          <ac:spMkLst>
            <pc:docMk/>
            <pc:sldMk cId="3900000265" sldId="929"/>
            <ac:spMk id="3" creationId="{61BBB11A-7E18-0E84-DD7D-D20B87E63F33}"/>
          </ac:spMkLst>
        </pc:spChg>
        <pc:spChg chg="mod">
          <ac:chgData name="Anissa Morris" userId="987d8a31-a5ba-42f0-bf53-4819055b8204" providerId="ADAL" clId="{629069E5-5C9F-4493-BA2C-4E70EC8CF099}" dt="2026-06-30T10:24:48.358" v="191" actId="27636"/>
          <ac:spMkLst>
            <pc:docMk/>
            <pc:sldMk cId="3900000265" sldId="929"/>
            <ac:spMk id="4" creationId="{FEA5F351-8331-0328-630E-EAEC0AFB87A1}"/>
          </ac:spMkLst>
        </pc:spChg>
      </pc:sldChg>
      <pc:sldChg chg="modSp add del mod">
        <pc:chgData name="Anissa Morris" userId="987d8a31-a5ba-42f0-bf53-4819055b8204" providerId="ADAL" clId="{629069E5-5C9F-4493-BA2C-4E70EC8CF099}" dt="2026-06-30T10:26:59.903" v="258"/>
        <pc:sldMkLst>
          <pc:docMk/>
          <pc:sldMk cId="2319007117" sldId="931"/>
        </pc:sldMkLst>
        <pc:spChg chg="mod">
          <ac:chgData name="Anissa Morris" userId="987d8a31-a5ba-42f0-bf53-4819055b8204" providerId="ADAL" clId="{629069E5-5C9F-4493-BA2C-4E70EC8CF099}" dt="2026-06-30T10:24:48.335" v="189" actId="27636"/>
          <ac:spMkLst>
            <pc:docMk/>
            <pc:sldMk cId="2319007117" sldId="931"/>
            <ac:spMk id="2" creationId="{1DC40E74-50DB-4442-A7E6-9A8C70C3410B}"/>
          </ac:spMkLst>
        </pc:spChg>
      </pc:sldChg>
      <pc:sldChg chg="add del">
        <pc:chgData name="Anissa Morris" userId="987d8a31-a5ba-42f0-bf53-4819055b8204" providerId="ADAL" clId="{629069E5-5C9F-4493-BA2C-4E70EC8CF099}" dt="2026-06-30T10:27:14.235" v="261" actId="47"/>
        <pc:sldMkLst>
          <pc:docMk/>
          <pc:sldMk cId="3661004038" sldId="937"/>
        </pc:sldMkLst>
      </pc:sldChg>
      <pc:sldChg chg="del">
        <pc:chgData name="Anissa Morris" userId="987d8a31-a5ba-42f0-bf53-4819055b8204" providerId="ADAL" clId="{629069E5-5C9F-4493-BA2C-4E70EC8CF099}" dt="2026-06-30T08:40:16.389" v="61" actId="47"/>
        <pc:sldMkLst>
          <pc:docMk/>
          <pc:sldMk cId="1761426442" sldId="4911"/>
        </pc:sldMkLst>
      </pc:sldChg>
      <pc:sldChg chg="del">
        <pc:chgData name="Anissa Morris" userId="987d8a31-a5ba-42f0-bf53-4819055b8204" providerId="ADAL" clId="{629069E5-5C9F-4493-BA2C-4E70EC8CF099}" dt="2026-06-30T08:40:16.678" v="62" actId="47"/>
        <pc:sldMkLst>
          <pc:docMk/>
          <pc:sldMk cId="1324894479" sldId="4913"/>
        </pc:sldMkLst>
      </pc:sldChg>
      <pc:sldChg chg="del">
        <pc:chgData name="Anissa Morris" userId="987d8a31-a5ba-42f0-bf53-4819055b8204" providerId="ADAL" clId="{629069E5-5C9F-4493-BA2C-4E70EC8CF099}" dt="2026-06-30T08:40:16.920" v="63" actId="47"/>
        <pc:sldMkLst>
          <pc:docMk/>
          <pc:sldMk cId="838599866" sldId="4914"/>
        </pc:sldMkLst>
      </pc:sldChg>
      <pc:sldChg chg="modSp del mod">
        <pc:chgData name="Anissa Morris" userId="987d8a31-a5ba-42f0-bf53-4819055b8204" providerId="ADAL" clId="{629069E5-5C9F-4493-BA2C-4E70EC8CF099}" dt="2026-06-30T08:40:17.100" v="64" actId="47"/>
        <pc:sldMkLst>
          <pc:docMk/>
          <pc:sldMk cId="3158046768" sldId="4915"/>
        </pc:sldMkLst>
        <pc:spChg chg="mod">
          <ac:chgData name="Anissa Morris" userId="987d8a31-a5ba-42f0-bf53-4819055b8204" providerId="ADAL" clId="{629069E5-5C9F-4493-BA2C-4E70EC8CF099}" dt="2026-06-30T08:39:37.923" v="44" actId="27636"/>
          <ac:spMkLst>
            <pc:docMk/>
            <pc:sldMk cId="3158046768" sldId="4915"/>
            <ac:spMk id="18" creationId="{12E666EC-D6E3-9D1A-122A-C8C41CBDCFB1}"/>
          </ac:spMkLst>
        </pc:spChg>
      </pc:sldChg>
      <pc:sldChg chg="del">
        <pc:chgData name="Anissa Morris" userId="987d8a31-a5ba-42f0-bf53-4819055b8204" providerId="ADAL" clId="{629069E5-5C9F-4493-BA2C-4E70EC8CF099}" dt="2026-06-30T08:40:18.105" v="68" actId="47"/>
        <pc:sldMkLst>
          <pc:docMk/>
          <pc:sldMk cId="3254280721" sldId="4917"/>
        </pc:sldMkLst>
      </pc:sldChg>
      <pc:sldChg chg="del">
        <pc:chgData name="Anissa Morris" userId="987d8a31-a5ba-42f0-bf53-4819055b8204" providerId="ADAL" clId="{629069E5-5C9F-4493-BA2C-4E70EC8CF099}" dt="2026-06-30T08:40:18.302" v="69" actId="47"/>
        <pc:sldMkLst>
          <pc:docMk/>
          <pc:sldMk cId="274814302" sldId="4918"/>
        </pc:sldMkLst>
      </pc:sldChg>
      <pc:sldChg chg="del">
        <pc:chgData name="Anissa Morris" userId="987d8a31-a5ba-42f0-bf53-4819055b8204" providerId="ADAL" clId="{629069E5-5C9F-4493-BA2C-4E70EC8CF099}" dt="2026-06-30T08:40:18.499" v="70" actId="47"/>
        <pc:sldMkLst>
          <pc:docMk/>
          <pc:sldMk cId="2580742715" sldId="4919"/>
        </pc:sldMkLst>
      </pc:sldChg>
      <pc:sldChg chg="del">
        <pc:chgData name="Anissa Morris" userId="987d8a31-a5ba-42f0-bf53-4819055b8204" providerId="ADAL" clId="{629069E5-5C9F-4493-BA2C-4E70EC8CF099}" dt="2026-06-30T08:40:18.685" v="71" actId="47"/>
        <pc:sldMkLst>
          <pc:docMk/>
          <pc:sldMk cId="3907239321" sldId="4920"/>
        </pc:sldMkLst>
      </pc:sldChg>
      <pc:sldChg chg="del">
        <pc:chgData name="Anissa Morris" userId="987d8a31-a5ba-42f0-bf53-4819055b8204" providerId="ADAL" clId="{629069E5-5C9F-4493-BA2C-4E70EC8CF099}" dt="2026-06-30T08:40:18.897" v="72" actId="47"/>
        <pc:sldMkLst>
          <pc:docMk/>
          <pc:sldMk cId="1331577353" sldId="4921"/>
        </pc:sldMkLst>
      </pc:sldChg>
      <pc:sldChg chg="add del">
        <pc:chgData name="Anissa Morris" userId="987d8a31-a5ba-42f0-bf53-4819055b8204" providerId="ADAL" clId="{629069E5-5C9F-4493-BA2C-4E70EC8CF099}" dt="2026-06-30T10:26:48.914" v="255" actId="47"/>
        <pc:sldMkLst>
          <pc:docMk/>
          <pc:sldMk cId="3153555384" sldId="4922"/>
        </pc:sldMkLst>
      </pc:sldChg>
      <pc:sldChg chg="modSp add mod">
        <pc:chgData name="Anissa Morris" userId="987d8a31-a5ba-42f0-bf53-4819055b8204" providerId="ADAL" clId="{629069E5-5C9F-4493-BA2C-4E70EC8CF099}" dt="2026-06-30T10:25:38.343" v="234" actId="20577"/>
        <pc:sldMkLst>
          <pc:docMk/>
          <pc:sldMk cId="2586015783" sldId="4923"/>
        </pc:sldMkLst>
        <pc:spChg chg="mod">
          <ac:chgData name="Anissa Morris" userId="987d8a31-a5ba-42f0-bf53-4819055b8204" providerId="ADAL" clId="{629069E5-5C9F-4493-BA2C-4E70EC8CF099}" dt="2026-06-30T10:25:38.343" v="234" actId="20577"/>
          <ac:spMkLst>
            <pc:docMk/>
            <pc:sldMk cId="2586015783" sldId="4923"/>
            <ac:spMk id="8" creationId="{F6106FA0-E81F-402F-99C1-2FD7CDA8EDA5}"/>
          </ac:spMkLst>
        </pc:spChg>
        <pc:spChg chg="mod">
          <ac:chgData name="Anissa Morris" userId="987d8a31-a5ba-42f0-bf53-4819055b8204" providerId="ADAL" clId="{629069E5-5C9F-4493-BA2C-4E70EC8CF099}" dt="2026-06-30T10:24:48.138" v="171" actId="27636"/>
          <ac:spMkLst>
            <pc:docMk/>
            <pc:sldMk cId="2586015783" sldId="4923"/>
            <ac:spMk id="2055" creationId="{00000000-0000-0000-0000-000000000000}"/>
          </ac:spMkLst>
        </pc:spChg>
      </pc:sldChg>
      <pc:sldChg chg="add del">
        <pc:chgData name="Anissa Morris" userId="987d8a31-a5ba-42f0-bf53-4819055b8204" providerId="ADAL" clId="{629069E5-5C9F-4493-BA2C-4E70EC8CF099}" dt="2026-06-30T10:27:24.410" v="262" actId="47"/>
        <pc:sldMkLst>
          <pc:docMk/>
          <pc:sldMk cId="3268493015" sldId="4924"/>
        </pc:sldMkLst>
      </pc:sldChg>
      <pc:sldChg chg="del">
        <pc:chgData name="Anissa Morris" userId="987d8a31-a5ba-42f0-bf53-4819055b8204" providerId="ADAL" clId="{629069E5-5C9F-4493-BA2C-4E70EC8CF099}" dt="2026-06-30T08:41:38.215" v="167" actId="2696"/>
        <pc:sldMkLst>
          <pc:docMk/>
          <pc:sldMk cId="2418492695" sldId="4925"/>
        </pc:sldMkLst>
      </pc:sldChg>
      <pc:sldChg chg="del">
        <pc:chgData name="Anissa Morris" userId="987d8a31-a5ba-42f0-bf53-4819055b8204" providerId="ADAL" clId="{629069E5-5C9F-4493-BA2C-4E70EC8CF099}" dt="2026-06-30T08:40:23.236" v="93" actId="47"/>
        <pc:sldMkLst>
          <pc:docMk/>
          <pc:sldMk cId="1827116966" sldId="4928"/>
        </pc:sldMkLst>
      </pc:sldChg>
      <pc:sldChg chg="del">
        <pc:chgData name="Anissa Morris" userId="987d8a31-a5ba-42f0-bf53-4819055b8204" providerId="ADAL" clId="{629069E5-5C9F-4493-BA2C-4E70EC8CF099}" dt="2026-06-30T08:40:23.474" v="94" actId="47"/>
        <pc:sldMkLst>
          <pc:docMk/>
          <pc:sldMk cId="3873941742" sldId="4929"/>
        </pc:sldMkLst>
      </pc:sldChg>
      <pc:sldChg chg="del">
        <pc:chgData name="Anissa Morris" userId="987d8a31-a5ba-42f0-bf53-4819055b8204" providerId="ADAL" clId="{629069E5-5C9F-4493-BA2C-4E70EC8CF099}" dt="2026-06-30T08:40:23.713" v="95" actId="47"/>
        <pc:sldMkLst>
          <pc:docMk/>
          <pc:sldMk cId="2024950494" sldId="4930"/>
        </pc:sldMkLst>
      </pc:sldChg>
      <pc:sldChg chg="del">
        <pc:chgData name="Anissa Morris" userId="987d8a31-a5ba-42f0-bf53-4819055b8204" providerId="ADAL" clId="{629069E5-5C9F-4493-BA2C-4E70EC8CF099}" dt="2026-06-30T08:40:20.662" v="82" actId="47"/>
        <pc:sldMkLst>
          <pc:docMk/>
          <pc:sldMk cId="2774256476" sldId="4931"/>
        </pc:sldMkLst>
      </pc:sldChg>
      <pc:sldChg chg="del">
        <pc:chgData name="Anissa Morris" userId="987d8a31-a5ba-42f0-bf53-4819055b8204" providerId="ADAL" clId="{629069E5-5C9F-4493-BA2C-4E70EC8CF099}" dt="2026-06-30T08:40:20.862" v="83" actId="47"/>
        <pc:sldMkLst>
          <pc:docMk/>
          <pc:sldMk cId="897674298" sldId="4932"/>
        </pc:sldMkLst>
      </pc:sldChg>
      <pc:sldChg chg="del">
        <pc:chgData name="Anissa Morris" userId="987d8a31-a5ba-42f0-bf53-4819055b8204" providerId="ADAL" clId="{629069E5-5C9F-4493-BA2C-4E70EC8CF099}" dt="2026-06-30T08:40:19.085" v="73" actId="47"/>
        <pc:sldMkLst>
          <pc:docMk/>
          <pc:sldMk cId="4076167605" sldId="4933"/>
        </pc:sldMkLst>
      </pc:sldChg>
      <pc:sldChg chg="del">
        <pc:chgData name="Anissa Morris" userId="987d8a31-a5ba-42f0-bf53-4819055b8204" providerId="ADAL" clId="{629069E5-5C9F-4493-BA2C-4E70EC8CF099}" dt="2026-06-30T08:40:19.272" v="74" actId="47"/>
        <pc:sldMkLst>
          <pc:docMk/>
          <pc:sldMk cId="2668433037" sldId="4936"/>
        </pc:sldMkLst>
      </pc:sldChg>
      <pc:sldChg chg="del">
        <pc:chgData name="Anissa Morris" userId="987d8a31-a5ba-42f0-bf53-4819055b8204" providerId="ADAL" clId="{629069E5-5C9F-4493-BA2C-4E70EC8CF099}" dt="2026-06-30T08:40:19.455" v="75" actId="47"/>
        <pc:sldMkLst>
          <pc:docMk/>
          <pc:sldMk cId="1097541195" sldId="4937"/>
        </pc:sldMkLst>
      </pc:sldChg>
      <pc:sldChg chg="del">
        <pc:chgData name="Anissa Morris" userId="987d8a31-a5ba-42f0-bf53-4819055b8204" providerId="ADAL" clId="{629069E5-5C9F-4493-BA2C-4E70EC8CF099}" dt="2026-06-30T08:40:19.604" v="76" actId="47"/>
        <pc:sldMkLst>
          <pc:docMk/>
          <pc:sldMk cId="2651116045" sldId="4938"/>
        </pc:sldMkLst>
      </pc:sldChg>
      <pc:sldChg chg="del">
        <pc:chgData name="Anissa Morris" userId="987d8a31-a5ba-42f0-bf53-4819055b8204" providerId="ADAL" clId="{629069E5-5C9F-4493-BA2C-4E70EC8CF099}" dt="2026-06-30T08:40:19.933" v="78" actId="47"/>
        <pc:sldMkLst>
          <pc:docMk/>
          <pc:sldMk cId="2902102607" sldId="4940"/>
        </pc:sldMkLst>
      </pc:sldChg>
      <pc:sldChg chg="del">
        <pc:chgData name="Anissa Morris" userId="987d8a31-a5ba-42f0-bf53-4819055b8204" providerId="ADAL" clId="{629069E5-5C9F-4493-BA2C-4E70EC8CF099}" dt="2026-06-30T08:40:20.491" v="81" actId="47"/>
        <pc:sldMkLst>
          <pc:docMk/>
          <pc:sldMk cId="3751373708" sldId="4942"/>
        </pc:sldMkLst>
      </pc:sldChg>
      <pc:sldChg chg="del">
        <pc:chgData name="Anissa Morris" userId="987d8a31-a5ba-42f0-bf53-4819055b8204" providerId="ADAL" clId="{629069E5-5C9F-4493-BA2C-4E70EC8CF099}" dt="2026-06-30T08:40:19.771" v="77" actId="47"/>
        <pc:sldMkLst>
          <pc:docMk/>
          <pc:sldMk cId="2821627151" sldId="4943"/>
        </pc:sldMkLst>
      </pc:sldChg>
      <pc:sldChg chg="del">
        <pc:chgData name="Anissa Morris" userId="987d8a31-a5ba-42f0-bf53-4819055b8204" providerId="ADAL" clId="{629069E5-5C9F-4493-BA2C-4E70EC8CF099}" dt="2026-06-30T08:40:20.096" v="79" actId="47"/>
        <pc:sldMkLst>
          <pc:docMk/>
          <pc:sldMk cId="1592354938" sldId="4946"/>
        </pc:sldMkLst>
      </pc:sldChg>
      <pc:sldChg chg="del">
        <pc:chgData name="Anissa Morris" userId="987d8a31-a5ba-42f0-bf53-4819055b8204" providerId="ADAL" clId="{629069E5-5C9F-4493-BA2C-4E70EC8CF099}" dt="2026-06-30T08:40:20.311" v="80" actId="47"/>
        <pc:sldMkLst>
          <pc:docMk/>
          <pc:sldMk cId="3680124889" sldId="4947"/>
        </pc:sldMkLst>
      </pc:sldChg>
      <pc:sldChg chg="modSp add del mod">
        <pc:chgData name="Anissa Morris" userId="987d8a31-a5ba-42f0-bf53-4819055b8204" providerId="ADAL" clId="{629069E5-5C9F-4493-BA2C-4E70EC8CF099}" dt="2026-06-30T10:26:59.903" v="258"/>
        <pc:sldMkLst>
          <pc:docMk/>
          <pc:sldMk cId="2711826274" sldId="1726328283"/>
        </pc:sldMkLst>
        <pc:spChg chg="mod">
          <ac:chgData name="Anissa Morris" userId="987d8a31-a5ba-42f0-bf53-4819055b8204" providerId="ADAL" clId="{629069E5-5C9F-4493-BA2C-4E70EC8CF099}" dt="2026-06-30T10:24:48.214" v="175" actId="27636"/>
          <ac:spMkLst>
            <pc:docMk/>
            <pc:sldMk cId="2711826274" sldId="1726328283"/>
            <ac:spMk id="3" creationId="{3B6C165E-9801-3FD2-6081-464F8AE7AA44}"/>
          </ac:spMkLst>
        </pc:spChg>
        <pc:spChg chg="mod">
          <ac:chgData name="Anissa Morris" userId="987d8a31-a5ba-42f0-bf53-4819055b8204" providerId="ADAL" clId="{629069E5-5C9F-4493-BA2C-4E70EC8CF099}" dt="2026-06-30T10:24:48.234" v="179" actId="27636"/>
          <ac:spMkLst>
            <pc:docMk/>
            <pc:sldMk cId="2711826274" sldId="1726328283"/>
            <ac:spMk id="4" creationId="{51F1234D-F4A2-8E58-7F08-682211B3EB14}"/>
          </ac:spMkLst>
        </pc:spChg>
        <pc:spChg chg="mod">
          <ac:chgData name="Anissa Morris" userId="987d8a31-a5ba-42f0-bf53-4819055b8204" providerId="ADAL" clId="{629069E5-5C9F-4493-BA2C-4E70EC8CF099}" dt="2026-06-30T10:24:48.209" v="174" actId="27636"/>
          <ac:spMkLst>
            <pc:docMk/>
            <pc:sldMk cId="2711826274" sldId="1726328283"/>
            <ac:spMk id="5" creationId="{B7E63494-DAAC-E660-CBFD-592448863C57}"/>
          </ac:spMkLst>
        </pc:spChg>
        <pc:spChg chg="mod">
          <ac:chgData name="Anissa Morris" userId="987d8a31-a5ba-42f0-bf53-4819055b8204" providerId="ADAL" clId="{629069E5-5C9F-4493-BA2C-4E70EC8CF099}" dt="2026-06-30T10:24:48.216" v="176" actId="27636"/>
          <ac:spMkLst>
            <pc:docMk/>
            <pc:sldMk cId="2711826274" sldId="1726328283"/>
            <ac:spMk id="7" creationId="{E54A035D-92C6-D59A-BB23-03702EABE0A3}"/>
          </ac:spMkLst>
        </pc:spChg>
        <pc:spChg chg="mod">
          <ac:chgData name="Anissa Morris" userId="987d8a31-a5ba-42f0-bf53-4819055b8204" providerId="ADAL" clId="{629069E5-5C9F-4493-BA2C-4E70EC8CF099}" dt="2026-06-30T10:24:48.192" v="172" actId="27636"/>
          <ac:spMkLst>
            <pc:docMk/>
            <pc:sldMk cId="2711826274" sldId="1726328283"/>
            <ac:spMk id="9" creationId="{D058AEE4-17BD-FB8A-2E8B-65F279C3C387}"/>
          </ac:spMkLst>
        </pc:spChg>
        <pc:spChg chg="mod">
          <ac:chgData name="Anissa Morris" userId="987d8a31-a5ba-42f0-bf53-4819055b8204" providerId="ADAL" clId="{629069E5-5C9F-4493-BA2C-4E70EC8CF099}" dt="2026-06-30T10:24:48.195" v="173" actId="27636"/>
          <ac:spMkLst>
            <pc:docMk/>
            <pc:sldMk cId="2711826274" sldId="1726328283"/>
            <ac:spMk id="10" creationId="{9C282FBF-0E74-D17B-CB2F-28A308F546A6}"/>
          </ac:spMkLst>
        </pc:spChg>
        <pc:spChg chg="mod">
          <ac:chgData name="Anissa Morris" userId="987d8a31-a5ba-42f0-bf53-4819055b8204" providerId="ADAL" clId="{629069E5-5C9F-4493-BA2C-4E70EC8CF099}" dt="2026-06-30T10:24:48.230" v="177" actId="27636"/>
          <ac:spMkLst>
            <pc:docMk/>
            <pc:sldMk cId="2711826274" sldId="1726328283"/>
            <ac:spMk id="11" creationId="{D03519B0-B91C-F625-5CDE-F0CFABBC0BCE}"/>
          </ac:spMkLst>
        </pc:spChg>
        <pc:spChg chg="mod">
          <ac:chgData name="Anissa Morris" userId="987d8a31-a5ba-42f0-bf53-4819055b8204" providerId="ADAL" clId="{629069E5-5C9F-4493-BA2C-4E70EC8CF099}" dt="2026-06-30T10:24:48.232" v="178" actId="27636"/>
          <ac:spMkLst>
            <pc:docMk/>
            <pc:sldMk cId="2711826274" sldId="1726328283"/>
            <ac:spMk id="13" creationId="{BCA038A8-030A-7AA0-6220-32BFA7B99FBB}"/>
          </ac:spMkLst>
        </pc:spChg>
      </pc:sldChg>
      <pc:sldChg chg="modSp add del mod">
        <pc:chgData name="Anissa Morris" userId="987d8a31-a5ba-42f0-bf53-4819055b8204" providerId="ADAL" clId="{629069E5-5C9F-4493-BA2C-4E70EC8CF099}" dt="2026-06-30T10:26:59.903" v="258"/>
        <pc:sldMkLst>
          <pc:docMk/>
          <pc:sldMk cId="1505191869" sldId="1726328285"/>
        </pc:sldMkLst>
        <pc:spChg chg="mod">
          <ac:chgData name="Anissa Morris" userId="987d8a31-a5ba-42f0-bf53-4819055b8204" providerId="ADAL" clId="{629069E5-5C9F-4493-BA2C-4E70EC8CF099}" dt="2026-06-30T10:24:48.251" v="180" actId="27636"/>
          <ac:spMkLst>
            <pc:docMk/>
            <pc:sldMk cId="1505191869" sldId="1726328285"/>
            <ac:spMk id="5" creationId="{56F43EA4-D398-4B5A-5D27-27091107CA6E}"/>
          </ac:spMkLst>
        </pc:spChg>
      </pc:sldChg>
      <pc:sldChg chg="modSp add del mod">
        <pc:chgData name="Anissa Morris" userId="987d8a31-a5ba-42f0-bf53-4819055b8204" providerId="ADAL" clId="{629069E5-5C9F-4493-BA2C-4E70EC8CF099}" dt="2026-06-30T10:26:59.903" v="258"/>
        <pc:sldMkLst>
          <pc:docMk/>
          <pc:sldMk cId="369965319" sldId="1726328312"/>
        </pc:sldMkLst>
        <pc:spChg chg="mod">
          <ac:chgData name="Anissa Morris" userId="987d8a31-a5ba-42f0-bf53-4819055b8204" providerId="ADAL" clId="{629069E5-5C9F-4493-BA2C-4E70EC8CF099}" dt="2026-06-30T10:24:48.315" v="188" actId="27636"/>
          <ac:spMkLst>
            <pc:docMk/>
            <pc:sldMk cId="369965319" sldId="1726328312"/>
            <ac:spMk id="5" creationId="{68C86370-FD7A-E4A9-25EF-BB93DF035DFB}"/>
          </ac:spMkLst>
        </pc:spChg>
      </pc:sldChg>
      <pc:sldChg chg="modSp add del mod">
        <pc:chgData name="Anissa Morris" userId="987d8a31-a5ba-42f0-bf53-4819055b8204" providerId="ADAL" clId="{629069E5-5C9F-4493-BA2C-4E70EC8CF099}" dt="2026-06-30T10:26:59.903" v="258"/>
        <pc:sldMkLst>
          <pc:docMk/>
          <pc:sldMk cId="2779162967" sldId="1726328315"/>
        </pc:sldMkLst>
        <pc:spChg chg="mod">
          <ac:chgData name="Anissa Morris" userId="987d8a31-a5ba-42f0-bf53-4819055b8204" providerId="ADAL" clId="{629069E5-5C9F-4493-BA2C-4E70EC8CF099}" dt="2026-06-30T10:24:48.386" v="193" actId="27636"/>
          <ac:spMkLst>
            <pc:docMk/>
            <pc:sldMk cId="2779162967" sldId="1726328315"/>
            <ac:spMk id="5" creationId="{B4DCFAB6-8EEC-BBD1-2C55-80E0D0480CA2}"/>
          </ac:spMkLst>
        </pc:spChg>
      </pc:sldChg>
      <pc:sldChg chg="modSp add del mod">
        <pc:chgData name="Anissa Morris" userId="987d8a31-a5ba-42f0-bf53-4819055b8204" providerId="ADAL" clId="{629069E5-5C9F-4493-BA2C-4E70EC8CF099}" dt="2026-06-30T10:26:59.903" v="258"/>
        <pc:sldMkLst>
          <pc:docMk/>
          <pc:sldMk cId="3479716467" sldId="1726328316"/>
        </pc:sldMkLst>
        <pc:spChg chg="mod">
          <ac:chgData name="Anissa Morris" userId="987d8a31-a5ba-42f0-bf53-4819055b8204" providerId="ADAL" clId="{629069E5-5C9F-4493-BA2C-4E70EC8CF099}" dt="2026-06-30T10:24:48.440" v="203" actId="27636"/>
          <ac:spMkLst>
            <pc:docMk/>
            <pc:sldMk cId="3479716467" sldId="1726328316"/>
            <ac:spMk id="5" creationId="{84E411D3-4913-152B-AD8C-BE36A9AD0F6D}"/>
          </ac:spMkLst>
        </pc:spChg>
      </pc:sldChg>
      <pc:sldChg chg="modSp add del mod">
        <pc:chgData name="Anissa Morris" userId="987d8a31-a5ba-42f0-bf53-4819055b8204" providerId="ADAL" clId="{629069E5-5C9F-4493-BA2C-4E70EC8CF099}" dt="2026-06-30T10:26:59.903" v="258"/>
        <pc:sldMkLst>
          <pc:docMk/>
          <pc:sldMk cId="3543067252" sldId="1726328317"/>
        </pc:sldMkLst>
        <pc:spChg chg="mod">
          <ac:chgData name="Anissa Morris" userId="987d8a31-a5ba-42f0-bf53-4819055b8204" providerId="ADAL" clId="{629069E5-5C9F-4493-BA2C-4E70EC8CF099}" dt="2026-06-30T10:24:48.411" v="197" actId="27636"/>
          <ac:spMkLst>
            <pc:docMk/>
            <pc:sldMk cId="3543067252" sldId="1726328317"/>
            <ac:spMk id="4" creationId="{AC0E3347-03E3-8D23-2689-C44E81A7A55F}"/>
          </ac:spMkLst>
        </pc:spChg>
        <pc:spChg chg="mod">
          <ac:chgData name="Anissa Morris" userId="987d8a31-a5ba-42f0-bf53-4819055b8204" providerId="ADAL" clId="{629069E5-5C9F-4493-BA2C-4E70EC8CF099}" dt="2026-06-30T10:24:48.406" v="194" actId="27636"/>
          <ac:spMkLst>
            <pc:docMk/>
            <pc:sldMk cId="3543067252" sldId="1726328317"/>
            <ac:spMk id="5" creationId="{CE570726-5131-0F7B-DF78-F4EBE9ED7B6F}"/>
          </ac:spMkLst>
        </pc:spChg>
        <pc:spChg chg="mod">
          <ac:chgData name="Anissa Morris" userId="987d8a31-a5ba-42f0-bf53-4819055b8204" providerId="ADAL" clId="{629069E5-5C9F-4493-BA2C-4E70EC8CF099}" dt="2026-06-30T10:24:48.412" v="198" actId="27636"/>
          <ac:spMkLst>
            <pc:docMk/>
            <pc:sldMk cId="3543067252" sldId="1726328317"/>
            <ac:spMk id="8" creationId="{BECEE13C-C3DD-FB18-364D-6ED6AFFA375C}"/>
          </ac:spMkLst>
        </pc:spChg>
        <pc:spChg chg="mod">
          <ac:chgData name="Anissa Morris" userId="987d8a31-a5ba-42f0-bf53-4819055b8204" providerId="ADAL" clId="{629069E5-5C9F-4493-BA2C-4E70EC8CF099}" dt="2026-06-30T10:24:48.408" v="195" actId="27636"/>
          <ac:spMkLst>
            <pc:docMk/>
            <pc:sldMk cId="3543067252" sldId="1726328317"/>
            <ac:spMk id="9" creationId="{2A9310F6-AE02-2E03-C838-E3FFD4515C55}"/>
          </ac:spMkLst>
        </pc:spChg>
        <pc:spChg chg="mod">
          <ac:chgData name="Anissa Morris" userId="987d8a31-a5ba-42f0-bf53-4819055b8204" providerId="ADAL" clId="{629069E5-5C9F-4493-BA2C-4E70EC8CF099}" dt="2026-06-30T10:24:48.409" v="196" actId="27636"/>
          <ac:spMkLst>
            <pc:docMk/>
            <pc:sldMk cId="3543067252" sldId="1726328317"/>
            <ac:spMk id="10" creationId="{857F15EB-5C8C-B75B-BBE2-D86D9F12C6B9}"/>
          </ac:spMkLst>
        </pc:spChg>
      </pc:sldChg>
      <pc:sldChg chg="modSp add del mod">
        <pc:chgData name="Anissa Morris" userId="987d8a31-a5ba-42f0-bf53-4819055b8204" providerId="ADAL" clId="{629069E5-5C9F-4493-BA2C-4E70EC8CF099}" dt="2026-06-30T10:26:59.903" v="258"/>
        <pc:sldMkLst>
          <pc:docMk/>
          <pc:sldMk cId="30904922" sldId="1726328318"/>
        </pc:sldMkLst>
        <pc:spChg chg="mod">
          <ac:chgData name="Anissa Morris" userId="987d8a31-a5ba-42f0-bf53-4819055b8204" providerId="ADAL" clId="{629069E5-5C9F-4493-BA2C-4E70EC8CF099}" dt="2026-06-30T10:24:48.416" v="199" actId="27636"/>
          <ac:spMkLst>
            <pc:docMk/>
            <pc:sldMk cId="30904922" sldId="1726328318"/>
            <ac:spMk id="10" creationId="{239D5AEC-1F13-C8FE-5F94-58A602A03A7A}"/>
          </ac:spMkLst>
        </pc:spChg>
      </pc:sldChg>
      <pc:sldChg chg="modSp add del mod">
        <pc:chgData name="Anissa Morris" userId="987d8a31-a5ba-42f0-bf53-4819055b8204" providerId="ADAL" clId="{629069E5-5C9F-4493-BA2C-4E70EC8CF099}" dt="2026-06-30T10:26:59.903" v="258"/>
        <pc:sldMkLst>
          <pc:docMk/>
          <pc:sldMk cId="1547293549" sldId="1726328319"/>
        </pc:sldMkLst>
        <pc:spChg chg="mod">
          <ac:chgData name="Anissa Morris" userId="987d8a31-a5ba-42f0-bf53-4819055b8204" providerId="ADAL" clId="{629069E5-5C9F-4493-BA2C-4E70EC8CF099}" dt="2026-06-30T10:24:48.426" v="200" actId="27636"/>
          <ac:spMkLst>
            <pc:docMk/>
            <pc:sldMk cId="1547293549" sldId="1726328319"/>
            <ac:spMk id="3" creationId="{E01F94B5-B89D-0FE4-2796-2AB166DC5F51}"/>
          </ac:spMkLst>
        </pc:spChg>
        <pc:spChg chg="mod">
          <ac:chgData name="Anissa Morris" userId="987d8a31-a5ba-42f0-bf53-4819055b8204" providerId="ADAL" clId="{629069E5-5C9F-4493-BA2C-4E70EC8CF099}" dt="2026-06-30T10:24:48.428" v="201" actId="27636"/>
          <ac:spMkLst>
            <pc:docMk/>
            <pc:sldMk cId="1547293549" sldId="1726328319"/>
            <ac:spMk id="8" creationId="{E852D215-26A1-17EA-7558-5D296B644756}"/>
          </ac:spMkLst>
        </pc:spChg>
        <pc:spChg chg="mod">
          <ac:chgData name="Anissa Morris" userId="987d8a31-a5ba-42f0-bf53-4819055b8204" providerId="ADAL" clId="{629069E5-5C9F-4493-BA2C-4E70EC8CF099}" dt="2026-06-30T10:24:48.429" v="202" actId="27636"/>
          <ac:spMkLst>
            <pc:docMk/>
            <pc:sldMk cId="1547293549" sldId="1726328319"/>
            <ac:spMk id="10" creationId="{72190AC3-E029-C516-5E0D-73BD53B9C5BB}"/>
          </ac:spMkLst>
        </pc:spChg>
      </pc:sldChg>
      <pc:sldChg chg="add del">
        <pc:chgData name="Anissa Morris" userId="987d8a31-a5ba-42f0-bf53-4819055b8204" providerId="ADAL" clId="{629069E5-5C9F-4493-BA2C-4E70EC8CF099}" dt="2026-06-30T10:26:59.903" v="258"/>
        <pc:sldMkLst>
          <pc:docMk/>
          <pc:sldMk cId="1982854783" sldId="1726328320"/>
        </pc:sldMkLst>
      </pc:sldChg>
      <pc:sldChg chg="modSp add del mod">
        <pc:chgData name="Anissa Morris" userId="987d8a31-a5ba-42f0-bf53-4819055b8204" providerId="ADAL" clId="{629069E5-5C9F-4493-BA2C-4E70EC8CF099}" dt="2026-06-30T10:26:59.903" v="258"/>
        <pc:sldMkLst>
          <pc:docMk/>
          <pc:sldMk cId="167405964" sldId="1726328321"/>
        </pc:sldMkLst>
        <pc:spChg chg="mod">
          <ac:chgData name="Anissa Morris" userId="987d8a31-a5ba-42f0-bf53-4819055b8204" providerId="ADAL" clId="{629069E5-5C9F-4493-BA2C-4E70EC8CF099}" dt="2026-06-30T10:24:48.341" v="190" actId="27636"/>
          <ac:spMkLst>
            <pc:docMk/>
            <pc:sldMk cId="167405964" sldId="1726328321"/>
            <ac:spMk id="5" creationId="{835A19D7-4B2F-1F43-11EB-23170E022698}"/>
          </ac:spMkLst>
        </pc:spChg>
      </pc:sldChg>
      <pc:sldMasterChg chg="modSldLayout sldLayoutOrd">
        <pc:chgData name="Anissa Morris" userId="987d8a31-a5ba-42f0-bf53-4819055b8204" providerId="ADAL" clId="{629069E5-5C9F-4493-BA2C-4E70EC8CF099}" dt="2026-06-30T10:27:06.308" v="259"/>
        <pc:sldMasterMkLst>
          <pc:docMk/>
          <pc:sldMasterMk cId="2234917416" sldId="2147483719"/>
        </pc:sldMasterMkLst>
        <pc:sldLayoutChg chg="mod ord">
          <pc:chgData name="Anissa Morris" userId="987d8a31-a5ba-42f0-bf53-4819055b8204" providerId="ADAL" clId="{629069E5-5C9F-4493-BA2C-4E70EC8CF099}" dt="2026-06-30T10:27:06.308" v="259"/>
          <pc:sldLayoutMkLst>
            <pc:docMk/>
            <pc:sldMasterMk cId="2234917416" sldId="2147483719"/>
            <pc:sldLayoutMk cId="2870470085" sldId="2147483760"/>
          </pc:sldLayoutMkLst>
        </pc:sldLayoutChg>
        <pc:sldLayoutChg chg="mod ord">
          <pc:chgData name="Anissa Morris" userId="987d8a31-a5ba-42f0-bf53-4819055b8204" providerId="ADAL" clId="{629069E5-5C9F-4493-BA2C-4E70EC8CF099}" dt="2026-06-30T10:27:06.308" v="259"/>
          <pc:sldLayoutMkLst>
            <pc:docMk/>
            <pc:sldMasterMk cId="2234917416" sldId="2147483719"/>
            <pc:sldLayoutMk cId="977517139" sldId="2147483761"/>
          </pc:sldLayoutMkLst>
        </pc:sldLayoutChg>
        <pc:sldLayoutChg chg="mod ord">
          <pc:chgData name="Anissa Morris" userId="987d8a31-a5ba-42f0-bf53-4819055b8204" providerId="ADAL" clId="{629069E5-5C9F-4493-BA2C-4E70EC8CF099}" dt="2026-06-30T10:27:06.308" v="259"/>
          <pc:sldLayoutMkLst>
            <pc:docMk/>
            <pc:sldMasterMk cId="2234917416" sldId="2147483719"/>
            <pc:sldLayoutMk cId="1693721706" sldId="2147483762"/>
          </pc:sldLayoutMkLst>
        </pc:sldLayoutChg>
      </pc:sldMasterChg>
      <pc:sldMasterChg chg="addSldLayout delSldLayout">
        <pc:chgData name="Anissa Morris" userId="987d8a31-a5ba-42f0-bf53-4819055b8204" providerId="ADAL" clId="{629069E5-5C9F-4493-BA2C-4E70EC8CF099}" dt="2026-06-30T10:26:51.647" v="257" actId="47"/>
        <pc:sldMasterMkLst>
          <pc:docMk/>
          <pc:sldMasterMk cId="2423174388" sldId="2147483746"/>
        </pc:sldMasterMkLst>
        <pc:sldLayoutChg chg="del">
          <pc:chgData name="Anissa Morris" userId="987d8a31-a5ba-42f0-bf53-4819055b8204" providerId="ADAL" clId="{629069E5-5C9F-4493-BA2C-4E70EC8CF099}" dt="2026-06-30T08:40:19.771" v="77" actId="47"/>
          <pc:sldLayoutMkLst>
            <pc:docMk/>
            <pc:sldMasterMk cId="2423174388" sldId="2147483746"/>
            <pc:sldLayoutMk cId="1364087512" sldId="2147483780"/>
          </pc:sldLayoutMkLst>
        </pc:sldLayoutChg>
        <pc:sldLayoutChg chg="del">
          <pc:chgData name="Anissa Morris" userId="987d8a31-a5ba-42f0-bf53-4819055b8204" providerId="ADAL" clId="{629069E5-5C9F-4493-BA2C-4E70EC8CF099}" dt="2026-06-30T08:40:36.433" v="97" actId="47"/>
          <pc:sldLayoutMkLst>
            <pc:docMk/>
            <pc:sldMasterMk cId="2423174388" sldId="2147483746"/>
            <pc:sldLayoutMk cId="2712172225" sldId="2147483787"/>
          </pc:sldLayoutMkLst>
        </pc:sldLayoutChg>
        <pc:sldLayoutChg chg="del">
          <pc:chgData name="Anissa Morris" userId="987d8a31-a5ba-42f0-bf53-4819055b8204" providerId="ADAL" clId="{629069E5-5C9F-4493-BA2C-4E70EC8CF099}" dt="2026-06-30T08:40:16.389" v="61" actId="47"/>
          <pc:sldLayoutMkLst>
            <pc:docMk/>
            <pc:sldMasterMk cId="2423174388" sldId="2147483746"/>
            <pc:sldLayoutMk cId="1164080084" sldId="2147483788"/>
          </pc:sldLayoutMkLst>
        </pc:sldLayoutChg>
        <pc:sldLayoutChg chg="add del">
          <pc:chgData name="Anissa Morris" userId="987d8a31-a5ba-42f0-bf53-4819055b8204" providerId="ADAL" clId="{629069E5-5C9F-4493-BA2C-4E70EC8CF099}" dt="2026-06-30T10:26:48.914" v="255" actId="47"/>
          <pc:sldLayoutMkLst>
            <pc:docMk/>
            <pc:sldMasterMk cId="2423174388" sldId="2147483746"/>
            <pc:sldLayoutMk cId="2987804152" sldId="2147483789"/>
          </pc:sldLayoutMkLst>
        </pc:sldLayoutChg>
        <pc:sldLayoutChg chg="del">
          <pc:chgData name="Anissa Morris" userId="987d8a31-a5ba-42f0-bf53-4819055b8204" providerId="ADAL" clId="{629069E5-5C9F-4493-BA2C-4E70EC8CF099}" dt="2026-06-30T08:40:23.010" v="92" actId="47"/>
          <pc:sldLayoutMkLst>
            <pc:docMk/>
            <pc:sldMasterMk cId="2423174388" sldId="2147483746"/>
            <pc:sldLayoutMk cId="3327966233" sldId="2147483794"/>
          </pc:sldLayoutMkLst>
        </pc:sldLayoutChg>
        <pc:sldLayoutChg chg="del">
          <pc:chgData name="Anissa Morris" userId="987d8a31-a5ba-42f0-bf53-4819055b8204" providerId="ADAL" clId="{629069E5-5C9F-4493-BA2C-4E70EC8CF099}" dt="2026-06-30T10:26:45.766" v="250" actId="47"/>
          <pc:sldLayoutMkLst>
            <pc:docMk/>
            <pc:sldMasterMk cId="2423174388" sldId="2147483746"/>
            <pc:sldLayoutMk cId="3888640016" sldId="2147483795"/>
          </pc:sldLayoutMkLst>
        </pc:sldLayoutChg>
        <pc:sldLayoutChg chg="del">
          <pc:chgData name="Anissa Morris" userId="987d8a31-a5ba-42f0-bf53-4819055b8204" providerId="ADAL" clId="{629069E5-5C9F-4493-BA2C-4E70EC8CF099}" dt="2026-06-30T10:26:38.516" v="235" actId="47"/>
          <pc:sldLayoutMkLst>
            <pc:docMk/>
            <pc:sldMasterMk cId="2423174388" sldId="2147483746"/>
            <pc:sldLayoutMk cId="4181909223" sldId="2147483797"/>
          </pc:sldLayoutMkLst>
        </pc:sldLayoutChg>
        <pc:sldLayoutChg chg="del">
          <pc:chgData name="Anissa Morris" userId="987d8a31-a5ba-42f0-bf53-4819055b8204" providerId="ADAL" clId="{629069E5-5C9F-4493-BA2C-4E70EC8CF099}" dt="2026-06-30T10:26:42.998" v="248" actId="47"/>
          <pc:sldLayoutMkLst>
            <pc:docMk/>
            <pc:sldMasterMk cId="2423174388" sldId="2147483746"/>
            <pc:sldLayoutMk cId="3297307946" sldId="2147483798"/>
          </pc:sldLayoutMkLst>
        </pc:sldLayoutChg>
        <pc:sldLayoutChg chg="del">
          <pc:chgData name="Anissa Morris" userId="987d8a31-a5ba-42f0-bf53-4819055b8204" providerId="ADAL" clId="{629069E5-5C9F-4493-BA2C-4E70EC8CF099}" dt="2026-06-30T10:26:39.837" v="237" actId="47"/>
          <pc:sldLayoutMkLst>
            <pc:docMk/>
            <pc:sldMasterMk cId="2423174388" sldId="2147483746"/>
            <pc:sldLayoutMk cId="2808654899" sldId="2147483799"/>
          </pc:sldLayoutMkLst>
        </pc:sldLayoutChg>
        <pc:sldLayoutChg chg="del">
          <pc:chgData name="Anissa Morris" userId="987d8a31-a5ba-42f0-bf53-4819055b8204" providerId="ADAL" clId="{629069E5-5C9F-4493-BA2C-4E70EC8CF099}" dt="2026-06-30T10:26:39.876" v="238" actId="47"/>
          <pc:sldLayoutMkLst>
            <pc:docMk/>
            <pc:sldMasterMk cId="2423174388" sldId="2147483746"/>
            <pc:sldLayoutMk cId="835139896" sldId="2147483800"/>
          </pc:sldLayoutMkLst>
        </pc:sldLayoutChg>
        <pc:sldLayoutChg chg="del">
          <pc:chgData name="Anissa Morris" userId="987d8a31-a5ba-42f0-bf53-4819055b8204" providerId="ADAL" clId="{629069E5-5C9F-4493-BA2C-4E70EC8CF099}" dt="2026-06-30T10:26:40.458" v="241" actId="47"/>
          <pc:sldLayoutMkLst>
            <pc:docMk/>
            <pc:sldMasterMk cId="2423174388" sldId="2147483746"/>
            <pc:sldLayoutMk cId="758600124" sldId="2147483801"/>
          </pc:sldLayoutMkLst>
        </pc:sldLayoutChg>
        <pc:sldLayoutChg chg="del">
          <pc:chgData name="Anissa Morris" userId="987d8a31-a5ba-42f0-bf53-4819055b8204" providerId="ADAL" clId="{629069E5-5C9F-4493-BA2C-4E70EC8CF099}" dt="2026-06-30T10:26:41.951" v="246" actId="47"/>
          <pc:sldLayoutMkLst>
            <pc:docMk/>
            <pc:sldMasterMk cId="2423174388" sldId="2147483746"/>
            <pc:sldLayoutMk cId="3355945279" sldId="2147483802"/>
          </pc:sldLayoutMkLst>
        </pc:sldLayoutChg>
        <pc:sldLayoutChg chg="del">
          <pc:chgData name="Anissa Morris" userId="987d8a31-a5ba-42f0-bf53-4819055b8204" providerId="ADAL" clId="{629069E5-5C9F-4493-BA2C-4E70EC8CF099}" dt="2026-06-30T10:26:42.250" v="247" actId="47"/>
          <pc:sldLayoutMkLst>
            <pc:docMk/>
            <pc:sldMasterMk cId="2423174388" sldId="2147483746"/>
            <pc:sldLayoutMk cId="1679207166" sldId="2147483803"/>
          </pc:sldLayoutMkLst>
        </pc:sldLayoutChg>
        <pc:sldLayoutChg chg="del">
          <pc:chgData name="Anissa Morris" userId="987d8a31-a5ba-42f0-bf53-4819055b8204" providerId="ADAL" clId="{629069E5-5C9F-4493-BA2C-4E70EC8CF099}" dt="2026-06-30T10:26:45.478" v="249" actId="47"/>
          <pc:sldLayoutMkLst>
            <pc:docMk/>
            <pc:sldMasterMk cId="2423174388" sldId="2147483746"/>
            <pc:sldLayoutMk cId="3021366775" sldId="2147483804"/>
          </pc:sldLayoutMkLst>
        </pc:sldLayoutChg>
        <pc:sldLayoutChg chg="add del">
          <pc:chgData name="Anissa Morris" userId="987d8a31-a5ba-42f0-bf53-4819055b8204" providerId="ADAL" clId="{629069E5-5C9F-4493-BA2C-4E70EC8CF099}" dt="2026-06-30T10:26:51.647" v="257" actId="47"/>
          <pc:sldLayoutMkLst>
            <pc:docMk/>
            <pc:sldMasterMk cId="2423174388" sldId="2147483746"/>
            <pc:sldLayoutMk cId="1892679116" sldId="2147483805"/>
          </pc:sldLayoutMkLst>
        </pc:sldLayoutChg>
      </pc:sldMasterChg>
      <pc:sldMasterChg chg="del sldLayoutOrd">
        <pc:chgData name="Anissa Morris" userId="987d8a31-a5ba-42f0-bf53-4819055b8204" providerId="ADAL" clId="{629069E5-5C9F-4493-BA2C-4E70EC8CF099}" dt="2026-06-30T10:27:06.399" v="260"/>
        <pc:sldMasterMkLst>
          <pc:docMk/>
          <pc:sldMasterMk cId="1419830591" sldId="2147483759"/>
        </pc:sldMasterMkLst>
      </pc:sldMasterChg>
      <pc:sldMasterChg chg="delSldLayout">
        <pc:chgData name="Anissa Morris" userId="987d8a31-a5ba-42f0-bf53-4819055b8204" providerId="ADAL" clId="{629069E5-5C9F-4493-BA2C-4E70EC8CF099}" dt="2026-06-30T10:27:24.410" v="262" actId="47"/>
        <pc:sldMasterMkLst>
          <pc:docMk/>
          <pc:sldMasterMk cId="3132110579" sldId="2147483797"/>
        </pc:sldMasterMkLst>
        <pc:sldLayoutChg chg="del">
          <pc:chgData name="Anissa Morris" userId="987d8a31-a5ba-42f0-bf53-4819055b8204" providerId="ADAL" clId="{629069E5-5C9F-4493-BA2C-4E70EC8CF099}" dt="2026-06-30T10:27:24.410" v="262" actId="47"/>
          <pc:sldLayoutMkLst>
            <pc:docMk/>
            <pc:sldMasterMk cId="3132110579" sldId="2147483797"/>
            <pc:sldLayoutMk cId="1335165162" sldId="2147483804"/>
          </pc:sldLayoutMkLst>
        </pc:sldLayoutChg>
      </pc:sldMasterChg>
      <pc:sldMasterChg chg="delSldLayout">
        <pc:chgData name="Anissa Morris" userId="987d8a31-a5ba-42f0-bf53-4819055b8204" providerId="ADAL" clId="{629069E5-5C9F-4493-BA2C-4E70EC8CF099}" dt="2026-06-30T10:27:14.235" v="261" actId="47"/>
        <pc:sldMasterMkLst>
          <pc:docMk/>
          <pc:sldMasterMk cId="3320025898" sldId="2147483820"/>
        </pc:sldMasterMkLst>
        <pc:sldLayoutChg chg="del">
          <pc:chgData name="Anissa Morris" userId="987d8a31-a5ba-42f0-bf53-4819055b8204" providerId="ADAL" clId="{629069E5-5C9F-4493-BA2C-4E70EC8CF099}" dt="2026-06-30T10:27:14.235" v="261" actId="47"/>
          <pc:sldLayoutMkLst>
            <pc:docMk/>
            <pc:sldMasterMk cId="3320025898" sldId="2147483820"/>
            <pc:sldLayoutMk cId="4134806309" sldId="2147483842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555A20-D40B-4DF9-A109-3CFF9BCD1DCF}" type="datetimeFigureOut">
              <a:rPr lang="en-GB" smtClean="0"/>
              <a:t>30/06/202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0ED562-355A-425B-9B3A-04A40CD4A59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12070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01E0CF-9265-48D0-B9E7-CC899E83868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6966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F8B23F-9E98-4308-93CA-D629C8504FD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10972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116972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798EED-305D-4AD4-0E5D-00E9E8A6CC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1C06D79-9BAF-105A-A96E-D5D22F67751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BEA2A6F-12EF-9D0B-6314-46ABE479AD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3FD6B9-A134-5187-5F78-C8886DD5500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B05D6B-C7C6-4454-AFB5-53711176A85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10972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723330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50C3A6-C317-ED4B-7A12-AFBB46B4B2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613A5F4-5CE5-F9F6-6DE7-2865E12AF2E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15AAEAC-15A8-A192-CCBD-F1DC2D505B7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D6F2F2-61D4-397F-07CD-A92C6E9B6C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B05D6B-C7C6-4454-AFB5-53711176A85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10972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855585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base">
              <a:lnSpc>
                <a:spcPct val="107000"/>
              </a:lnSpc>
              <a:spcBef>
                <a:spcPts val="430"/>
              </a:spcBef>
              <a:spcAft>
                <a:spcPts val="800"/>
              </a:spcAft>
            </a:pP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F8B23F-9E98-4308-93CA-D629C8504FD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10972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598987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F8B23F-9E98-4308-93CA-D629C8504FD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10972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55767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C7F6B6-AD85-4A8D-B727-FE1476CF34AB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04197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42E7B7A-4CAD-4DD0-B454-F13021D379F6}" type="slidenum">
              <a:rPr lang="en-US"/>
              <a:pPr/>
              <a:t>5</a:t>
            </a:fld>
            <a:endParaRPr lang="en-US"/>
          </a:p>
        </p:txBody>
      </p:sp>
      <p:sp>
        <p:nvSpPr>
          <p:cNvPr id="440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2863" y="739775"/>
            <a:ext cx="6583362" cy="3703638"/>
          </a:xfrm>
          <a:ln/>
        </p:spPr>
      </p:sp>
      <p:sp>
        <p:nvSpPr>
          <p:cNvPr id="4403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77086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B05D6B-C7C6-4454-AFB5-53711176A85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10972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08141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B05D6B-C7C6-4454-AFB5-53711176A85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10972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5393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B05D6B-C7C6-4454-AFB5-53711176A85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10972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29053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B05D6B-C7C6-4454-AFB5-53711176A85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10972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3024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F8B23F-9E98-4308-93CA-D629C8504FD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10972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718371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B05D6B-C7C6-4454-AFB5-53711176A85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10972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08561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sv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svg"/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sv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sv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sv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sv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sv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sv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25.svg"/><Relationship Id="rId4" Type="http://schemas.openxmlformats.org/officeDocument/2006/relationships/image" Target="../media/image24.svg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svg"/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sv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6.svg"/><Relationship Id="rId5" Type="http://schemas.openxmlformats.org/officeDocument/2006/relationships/image" Target="../media/image35.svg"/><Relationship Id="rId4" Type="http://schemas.openxmlformats.org/officeDocument/2006/relationships/image" Target="../media/image34.svg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sv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4.svg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43.pn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svg"/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svg"/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-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>
            <a:extLst>
              <a:ext uri="{FF2B5EF4-FFF2-40B4-BE49-F238E27FC236}">
                <a16:creationId xmlns:a16="http://schemas.microsoft.com/office/drawing/2014/main" id="{FE1ABC8E-BB98-C919-E6BC-AA7B39186957}"/>
              </a:ext>
            </a:extLst>
          </p:cNvPr>
          <p:cNvSpPr/>
          <p:nvPr userDrawn="1"/>
        </p:nvSpPr>
        <p:spPr>
          <a:xfrm>
            <a:off x="-1" y="-1"/>
            <a:ext cx="12192000" cy="6858000"/>
          </a:xfrm>
          <a:custGeom>
            <a:avLst/>
            <a:gdLst>
              <a:gd name="connsiteX0" fmla="*/ 245165 w 12192000"/>
              <a:gd name="connsiteY0" fmla="*/ 242472 h 6858000"/>
              <a:gd name="connsiteX1" fmla="*/ 245165 w 12192000"/>
              <a:gd name="connsiteY1" fmla="*/ 6615528 h 6858000"/>
              <a:gd name="connsiteX2" fmla="*/ 11470341 w 12192000"/>
              <a:gd name="connsiteY2" fmla="*/ 6615528 h 6858000"/>
              <a:gd name="connsiteX3" fmla="*/ 11470341 w 12192000"/>
              <a:gd name="connsiteY3" fmla="*/ 6212541 h 6858000"/>
              <a:gd name="connsiteX4" fmla="*/ 11936921 w 12192000"/>
              <a:gd name="connsiteY4" fmla="*/ 6212541 h 6858000"/>
              <a:gd name="connsiteX5" fmla="*/ 11936921 w 12192000"/>
              <a:gd name="connsiteY5" fmla="*/ 242472 h 6858000"/>
              <a:gd name="connsiteX6" fmla="*/ 0 w 12192000"/>
              <a:gd name="connsiteY6" fmla="*/ 0 h 6858000"/>
              <a:gd name="connsiteX7" fmla="*/ 12192000 w 12192000"/>
              <a:gd name="connsiteY7" fmla="*/ 0 h 6858000"/>
              <a:gd name="connsiteX8" fmla="*/ 12192000 w 12192000"/>
              <a:gd name="connsiteY8" fmla="*/ 6212541 h 6858000"/>
              <a:gd name="connsiteX9" fmla="*/ 12192000 w 12192000"/>
              <a:gd name="connsiteY9" fmla="*/ 6858000 h 6858000"/>
              <a:gd name="connsiteX10" fmla="*/ 11470341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245165" y="242472"/>
                </a:moveTo>
                <a:lnTo>
                  <a:pt x="245165" y="6615528"/>
                </a:lnTo>
                <a:lnTo>
                  <a:pt x="11470341" y="6615528"/>
                </a:lnTo>
                <a:lnTo>
                  <a:pt x="11470341" y="6212541"/>
                </a:lnTo>
                <a:lnTo>
                  <a:pt x="11936921" y="6212541"/>
                </a:lnTo>
                <a:lnTo>
                  <a:pt x="11936921" y="24247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212541"/>
                </a:lnTo>
                <a:lnTo>
                  <a:pt x="12192000" y="6858000"/>
                </a:lnTo>
                <a:lnTo>
                  <a:pt x="1147034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97317161-2CD7-7DFA-011F-A55C360C705F}"/>
              </a:ext>
            </a:extLst>
          </p:cNvPr>
          <p:cNvSpPr/>
          <p:nvPr userDrawn="1"/>
        </p:nvSpPr>
        <p:spPr>
          <a:xfrm>
            <a:off x="8917401" y="2940388"/>
            <a:ext cx="3019519" cy="3674852"/>
          </a:xfrm>
          <a:custGeom>
            <a:avLst/>
            <a:gdLst>
              <a:gd name="connsiteX0" fmla="*/ 676211 w 790892"/>
              <a:gd name="connsiteY0" fmla="*/ 962478 h 962541"/>
              <a:gd name="connsiteX1" fmla="*/ 24892 w 790892"/>
              <a:gd name="connsiteY1" fmla="*/ 962478 h 962541"/>
              <a:gd name="connsiteX2" fmla="*/ 444 w 790892"/>
              <a:gd name="connsiteY2" fmla="*/ 938030 h 962541"/>
              <a:gd name="connsiteX3" fmla="*/ 127 w 790892"/>
              <a:gd name="connsiteY3" fmla="*/ 366593 h 962541"/>
              <a:gd name="connsiteX4" fmla="*/ 0 w 790892"/>
              <a:gd name="connsiteY4" fmla="*/ 304744 h 962541"/>
              <a:gd name="connsiteX5" fmla="*/ 0 w 790892"/>
              <a:gd name="connsiteY5" fmla="*/ 262390 h 962541"/>
              <a:gd name="connsiteX6" fmla="*/ 11620 w 790892"/>
              <a:gd name="connsiteY6" fmla="*/ 242261 h 962541"/>
              <a:gd name="connsiteX7" fmla="*/ 388556 w 790892"/>
              <a:gd name="connsiteY7" fmla="*/ 2421 h 962541"/>
              <a:gd name="connsiteX8" fmla="*/ 405447 w 790892"/>
              <a:gd name="connsiteY8" fmla="*/ 2485 h 962541"/>
              <a:gd name="connsiteX9" fmla="*/ 779780 w 790892"/>
              <a:gd name="connsiteY9" fmla="*/ 242578 h 962541"/>
              <a:gd name="connsiteX10" fmla="*/ 790766 w 790892"/>
              <a:gd name="connsiteY10" fmla="*/ 261311 h 962541"/>
              <a:gd name="connsiteX11" fmla="*/ 790766 w 790892"/>
              <a:gd name="connsiteY11" fmla="*/ 295092 h 962541"/>
              <a:gd name="connsiteX12" fmla="*/ 790892 w 790892"/>
              <a:gd name="connsiteY12" fmla="*/ 364435 h 962541"/>
              <a:gd name="connsiteX13" fmla="*/ 790892 w 790892"/>
              <a:gd name="connsiteY13" fmla="*/ 938157 h 962541"/>
              <a:gd name="connsiteX14" fmla="*/ 766508 w 790892"/>
              <a:gd name="connsiteY14" fmla="*/ 962541 h 962541"/>
              <a:gd name="connsiteX15" fmla="*/ 676211 w 790892"/>
              <a:gd name="connsiteY15" fmla="*/ 962541 h 96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90892" h="962541">
                <a:moveTo>
                  <a:pt x="676211" y="962478"/>
                </a:moveTo>
                <a:lnTo>
                  <a:pt x="24892" y="962478"/>
                </a:lnTo>
                <a:cubicBezTo>
                  <a:pt x="11493" y="962478"/>
                  <a:pt x="444" y="951429"/>
                  <a:pt x="444" y="938030"/>
                </a:cubicBezTo>
                <a:cubicBezTo>
                  <a:pt x="127" y="673806"/>
                  <a:pt x="127" y="624277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8"/>
                  <a:pt x="4699" y="246642"/>
                  <a:pt x="11620" y="242261"/>
                </a:cubicBezTo>
                <a:cubicBezTo>
                  <a:pt x="64262" y="208732"/>
                  <a:pt x="288036" y="66048"/>
                  <a:pt x="388556" y="2421"/>
                </a:cubicBezTo>
                <a:cubicBezTo>
                  <a:pt x="393700" y="-818"/>
                  <a:pt x="400303" y="-818"/>
                  <a:pt x="405447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2"/>
                </a:lnTo>
                <a:cubicBezTo>
                  <a:pt x="790766" y="295092"/>
                  <a:pt x="790892" y="364435"/>
                  <a:pt x="790892" y="364435"/>
                </a:cubicBezTo>
                <a:lnTo>
                  <a:pt x="790892" y="938157"/>
                </a:lnTo>
                <a:cubicBezTo>
                  <a:pt x="790892" y="951619"/>
                  <a:pt x="779970" y="962541"/>
                  <a:pt x="766508" y="962541"/>
                </a:cubicBezTo>
                <a:lnTo>
                  <a:pt x="676211" y="962541"/>
                </a:lnTo>
                <a:close/>
              </a:path>
            </a:pathLst>
          </a:custGeom>
          <a:solidFill>
            <a:schemeClr val="accent2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B69031D-7D53-4A65-BB56-533F4995BC8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897995" y="1581309"/>
            <a:ext cx="1984906" cy="50681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108A9F2-83BF-6256-A4A9-DD003AC98DF9}"/>
              </a:ext>
            </a:extLst>
          </p:cNvPr>
          <p:cNvSpPr txBox="1"/>
          <p:nvPr userDrawn="1"/>
        </p:nvSpPr>
        <p:spPr>
          <a:xfrm>
            <a:off x="897993" y="2632637"/>
            <a:ext cx="5943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i="0">
                <a:solidFill>
                  <a:schemeClr val="bg1"/>
                </a:solidFill>
                <a:latin typeface="Helvetica" pitchFamily="2" charset="0"/>
                <a:ea typeface="Bagoss Condensed SemiBold" panose="020B0806060102020204" pitchFamily="34" charset="77"/>
                <a:cs typeface="Bagoss Condensed SemiBold" panose="020B0806060102020204" pitchFamily="34" charset="77"/>
              </a:rPr>
              <a:t>The voice of the home building industry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7C14A7A-2F44-BDF7-B5B4-111E150CB493}"/>
              </a:ext>
            </a:extLst>
          </p:cNvPr>
          <p:cNvSpPr txBox="1"/>
          <p:nvPr userDrawn="1"/>
        </p:nvSpPr>
        <p:spPr>
          <a:xfrm>
            <a:off x="897993" y="4422214"/>
            <a:ext cx="5943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0" i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bf.co.uk | 0207 960 1600 | @homebuildersfed</a:t>
            </a:r>
          </a:p>
        </p:txBody>
      </p:sp>
    </p:spTree>
    <p:extLst>
      <p:ext uri="{BB962C8B-B14F-4D97-AF65-F5344CB8AC3E}">
        <p14:creationId xmlns:p14="http://schemas.microsoft.com/office/powerpoint/2010/main" val="2579230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-Pattern-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352C3B98-E4D1-46FD-39A7-0B7A4898A8FB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0" y="15114"/>
            <a:ext cx="12192000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61232F8C-0A94-89C7-1814-69A7D866E55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5165" y="2371238"/>
            <a:ext cx="11701669" cy="719689"/>
          </a:xfrm>
        </p:spPr>
        <p:txBody>
          <a:bodyPr anchor="t">
            <a:noAutofit/>
          </a:bodyPr>
          <a:lstStyle>
            <a:lvl1pPr algn="ctr"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9767688-C852-D333-E5EC-16E66FB6C47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3999" y="3195226"/>
            <a:ext cx="9144000" cy="528002"/>
          </a:xfrm>
        </p:spPr>
        <p:txBody>
          <a:bodyPr/>
          <a:lstStyle>
            <a:lvl1pPr marL="0" indent="0" algn="ctr">
              <a:buNone/>
              <a:defRPr sz="2400" b="0" i="0">
                <a:solidFill>
                  <a:schemeClr val="tx1"/>
                </a:solidFill>
                <a:latin typeface="Bagoss Standard" panose="020B0504060102020204" pitchFamily="34" charset="77"/>
                <a:ea typeface="Bagoss Standard" panose="020B0504060102020204" pitchFamily="34" charset="77"/>
                <a:cs typeface="Bagoss Standard" panose="020B0504060102020204" pitchFamily="34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4983043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_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718114-9CCF-0709-31A6-E5301F6DD44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95554" y="1529293"/>
            <a:ext cx="11400896" cy="4542896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defRPr b="0"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itle 5">
            <a:extLst>
              <a:ext uri="{FF2B5EF4-FFF2-40B4-BE49-F238E27FC236}">
                <a16:creationId xmlns:a16="http://schemas.microsoft.com/office/drawing/2014/main" id="{7BECBD07-963A-029C-EC39-49000F2149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54" y="399899"/>
            <a:ext cx="11400896" cy="864810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6192366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header_alt layou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66DE7D7-60D7-9A4A-2230-FB8B6AE73D5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5734844" cy="6858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9E85B8B-BC5C-8BEE-9BF7-E262F191BB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9D8F881F-AE72-8F8D-CE73-951034636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4221" y="3531360"/>
            <a:ext cx="5794291" cy="1530653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4D1B943-203D-684B-3611-91CE39F2C6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02581" y="5624946"/>
            <a:ext cx="3672289" cy="739822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67" b="0">
                <a:solidFill>
                  <a:schemeClr val="tx1"/>
                </a:solidFill>
              </a:defRPr>
            </a:lvl1pPr>
            <a:lvl2pPr marL="45716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2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4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0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0451B5D8-AA93-DC9D-4D98-A3AE730F8E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84221" y="1365794"/>
            <a:ext cx="2801345" cy="1602634"/>
          </a:xfrm>
          <a:prstGeom prst="rect">
            <a:avLst/>
          </a:prstGeom>
        </p:spPr>
        <p:txBody>
          <a:bodyPr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666" b="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833" b="0"/>
            </a:lvl2pPr>
            <a:lvl3pPr>
              <a:buNone/>
              <a:defRPr/>
            </a:lvl3pPr>
          </a:lstStyle>
          <a:p>
            <a:pPr lvl="0"/>
            <a:r>
              <a:rPr lang="en-GB"/>
              <a:t>0</a:t>
            </a:r>
            <a:r>
              <a:rPr lang="en-US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34908797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85">
          <p15:clr>
            <a:srgbClr val="FBAE40"/>
          </p15:clr>
        </p15:guide>
        <p15:guide id="2" pos="59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-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>
            <a:extLst>
              <a:ext uri="{FF2B5EF4-FFF2-40B4-BE49-F238E27FC236}">
                <a16:creationId xmlns:a16="http://schemas.microsoft.com/office/drawing/2014/main" id="{257373F1-71A1-3C20-DC9F-D0F32C3C6395}"/>
              </a:ext>
            </a:extLst>
          </p:cNvPr>
          <p:cNvSpPr/>
          <p:nvPr/>
        </p:nvSpPr>
        <p:spPr>
          <a:xfrm>
            <a:off x="-1" y="-1"/>
            <a:ext cx="12192000" cy="6858000"/>
          </a:xfrm>
          <a:custGeom>
            <a:avLst/>
            <a:gdLst>
              <a:gd name="connsiteX0" fmla="*/ 245165 w 12192000"/>
              <a:gd name="connsiteY0" fmla="*/ 242472 h 6858000"/>
              <a:gd name="connsiteX1" fmla="*/ 245165 w 12192000"/>
              <a:gd name="connsiteY1" fmla="*/ 6615528 h 6858000"/>
              <a:gd name="connsiteX2" fmla="*/ 11470341 w 12192000"/>
              <a:gd name="connsiteY2" fmla="*/ 6615528 h 6858000"/>
              <a:gd name="connsiteX3" fmla="*/ 11470341 w 12192000"/>
              <a:gd name="connsiteY3" fmla="*/ 6212541 h 6858000"/>
              <a:gd name="connsiteX4" fmla="*/ 11936921 w 12192000"/>
              <a:gd name="connsiteY4" fmla="*/ 6212541 h 6858000"/>
              <a:gd name="connsiteX5" fmla="*/ 11936921 w 12192000"/>
              <a:gd name="connsiteY5" fmla="*/ 242472 h 6858000"/>
              <a:gd name="connsiteX6" fmla="*/ 0 w 12192000"/>
              <a:gd name="connsiteY6" fmla="*/ 0 h 6858000"/>
              <a:gd name="connsiteX7" fmla="*/ 12192000 w 12192000"/>
              <a:gd name="connsiteY7" fmla="*/ 0 h 6858000"/>
              <a:gd name="connsiteX8" fmla="*/ 12192000 w 12192000"/>
              <a:gd name="connsiteY8" fmla="*/ 6212541 h 6858000"/>
              <a:gd name="connsiteX9" fmla="*/ 12192000 w 12192000"/>
              <a:gd name="connsiteY9" fmla="*/ 6858000 h 6858000"/>
              <a:gd name="connsiteX10" fmla="*/ 11470341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245165" y="242472"/>
                </a:moveTo>
                <a:lnTo>
                  <a:pt x="245165" y="6615528"/>
                </a:lnTo>
                <a:lnTo>
                  <a:pt x="11470341" y="6615528"/>
                </a:lnTo>
                <a:lnTo>
                  <a:pt x="11470341" y="6212541"/>
                </a:lnTo>
                <a:lnTo>
                  <a:pt x="11936921" y="6212541"/>
                </a:lnTo>
                <a:lnTo>
                  <a:pt x="11936921" y="24247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212541"/>
                </a:lnTo>
                <a:lnTo>
                  <a:pt x="12192000" y="6858000"/>
                </a:lnTo>
                <a:lnTo>
                  <a:pt x="1147034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E1707C3-36C6-85F1-B8F0-A727941005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994" y="2825912"/>
            <a:ext cx="6764047" cy="719689"/>
          </a:xfrm>
        </p:spPr>
        <p:txBody>
          <a:bodyPr anchor="t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BB0A9B6-7FC8-EC63-8387-6FD7B4ED4AD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97994" y="3549139"/>
            <a:ext cx="6764047" cy="528002"/>
          </a:xfrm>
        </p:spPr>
        <p:txBody>
          <a:bodyPr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Helvetica" pitchFamily="2" charset="0"/>
                <a:ea typeface="Bagoss Standard" panose="020B0504060102020204" pitchFamily="34" charset="77"/>
                <a:cs typeface="Bagoss Standard" panose="020B0504060102020204" pitchFamily="34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97317161-2CD7-7DFA-011F-A55C360C705F}"/>
              </a:ext>
            </a:extLst>
          </p:cNvPr>
          <p:cNvSpPr/>
          <p:nvPr/>
        </p:nvSpPr>
        <p:spPr>
          <a:xfrm>
            <a:off x="8917401" y="2927688"/>
            <a:ext cx="3019519" cy="3674852"/>
          </a:xfrm>
          <a:custGeom>
            <a:avLst/>
            <a:gdLst>
              <a:gd name="connsiteX0" fmla="*/ 676211 w 790892"/>
              <a:gd name="connsiteY0" fmla="*/ 962478 h 962541"/>
              <a:gd name="connsiteX1" fmla="*/ 24892 w 790892"/>
              <a:gd name="connsiteY1" fmla="*/ 962478 h 962541"/>
              <a:gd name="connsiteX2" fmla="*/ 444 w 790892"/>
              <a:gd name="connsiteY2" fmla="*/ 938030 h 962541"/>
              <a:gd name="connsiteX3" fmla="*/ 127 w 790892"/>
              <a:gd name="connsiteY3" fmla="*/ 366593 h 962541"/>
              <a:gd name="connsiteX4" fmla="*/ 0 w 790892"/>
              <a:gd name="connsiteY4" fmla="*/ 304744 h 962541"/>
              <a:gd name="connsiteX5" fmla="*/ 0 w 790892"/>
              <a:gd name="connsiteY5" fmla="*/ 262390 h 962541"/>
              <a:gd name="connsiteX6" fmla="*/ 11620 w 790892"/>
              <a:gd name="connsiteY6" fmla="*/ 242261 h 962541"/>
              <a:gd name="connsiteX7" fmla="*/ 388556 w 790892"/>
              <a:gd name="connsiteY7" fmla="*/ 2421 h 962541"/>
              <a:gd name="connsiteX8" fmla="*/ 405447 w 790892"/>
              <a:gd name="connsiteY8" fmla="*/ 2485 h 962541"/>
              <a:gd name="connsiteX9" fmla="*/ 779780 w 790892"/>
              <a:gd name="connsiteY9" fmla="*/ 242578 h 962541"/>
              <a:gd name="connsiteX10" fmla="*/ 790766 w 790892"/>
              <a:gd name="connsiteY10" fmla="*/ 261311 h 962541"/>
              <a:gd name="connsiteX11" fmla="*/ 790766 w 790892"/>
              <a:gd name="connsiteY11" fmla="*/ 295092 h 962541"/>
              <a:gd name="connsiteX12" fmla="*/ 790892 w 790892"/>
              <a:gd name="connsiteY12" fmla="*/ 364435 h 962541"/>
              <a:gd name="connsiteX13" fmla="*/ 790892 w 790892"/>
              <a:gd name="connsiteY13" fmla="*/ 938157 h 962541"/>
              <a:gd name="connsiteX14" fmla="*/ 766508 w 790892"/>
              <a:gd name="connsiteY14" fmla="*/ 962541 h 962541"/>
              <a:gd name="connsiteX15" fmla="*/ 676211 w 790892"/>
              <a:gd name="connsiteY15" fmla="*/ 962541 h 96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90892" h="962541">
                <a:moveTo>
                  <a:pt x="676211" y="962478"/>
                </a:moveTo>
                <a:lnTo>
                  <a:pt x="24892" y="962478"/>
                </a:lnTo>
                <a:cubicBezTo>
                  <a:pt x="11493" y="962478"/>
                  <a:pt x="444" y="951429"/>
                  <a:pt x="444" y="938030"/>
                </a:cubicBezTo>
                <a:cubicBezTo>
                  <a:pt x="127" y="673806"/>
                  <a:pt x="127" y="624277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8"/>
                  <a:pt x="4699" y="246642"/>
                  <a:pt x="11620" y="242261"/>
                </a:cubicBezTo>
                <a:cubicBezTo>
                  <a:pt x="64262" y="208732"/>
                  <a:pt x="288036" y="66048"/>
                  <a:pt x="388556" y="2421"/>
                </a:cubicBezTo>
                <a:cubicBezTo>
                  <a:pt x="393700" y="-818"/>
                  <a:pt x="400303" y="-818"/>
                  <a:pt x="405447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2"/>
                </a:lnTo>
                <a:cubicBezTo>
                  <a:pt x="790766" y="295092"/>
                  <a:pt x="790892" y="364435"/>
                  <a:pt x="790892" y="364435"/>
                </a:cubicBezTo>
                <a:lnTo>
                  <a:pt x="790892" y="938157"/>
                </a:lnTo>
                <a:cubicBezTo>
                  <a:pt x="790892" y="951619"/>
                  <a:pt x="779970" y="962541"/>
                  <a:pt x="766508" y="962541"/>
                </a:cubicBezTo>
                <a:lnTo>
                  <a:pt x="676211" y="962541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90247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-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>
            <a:extLst>
              <a:ext uri="{FF2B5EF4-FFF2-40B4-BE49-F238E27FC236}">
                <a16:creationId xmlns:a16="http://schemas.microsoft.com/office/drawing/2014/main" id="{257373F1-71A1-3C20-DC9F-D0F32C3C6395}"/>
              </a:ext>
            </a:extLst>
          </p:cNvPr>
          <p:cNvSpPr/>
          <p:nvPr/>
        </p:nvSpPr>
        <p:spPr>
          <a:xfrm>
            <a:off x="-1" y="-1"/>
            <a:ext cx="12192000" cy="6858000"/>
          </a:xfrm>
          <a:custGeom>
            <a:avLst/>
            <a:gdLst>
              <a:gd name="connsiteX0" fmla="*/ 245165 w 12192000"/>
              <a:gd name="connsiteY0" fmla="*/ 242472 h 6858000"/>
              <a:gd name="connsiteX1" fmla="*/ 245165 w 12192000"/>
              <a:gd name="connsiteY1" fmla="*/ 6615528 h 6858000"/>
              <a:gd name="connsiteX2" fmla="*/ 11470341 w 12192000"/>
              <a:gd name="connsiteY2" fmla="*/ 6615528 h 6858000"/>
              <a:gd name="connsiteX3" fmla="*/ 11470341 w 12192000"/>
              <a:gd name="connsiteY3" fmla="*/ 6212541 h 6858000"/>
              <a:gd name="connsiteX4" fmla="*/ 11936921 w 12192000"/>
              <a:gd name="connsiteY4" fmla="*/ 6212541 h 6858000"/>
              <a:gd name="connsiteX5" fmla="*/ 11936921 w 12192000"/>
              <a:gd name="connsiteY5" fmla="*/ 242472 h 6858000"/>
              <a:gd name="connsiteX6" fmla="*/ 0 w 12192000"/>
              <a:gd name="connsiteY6" fmla="*/ 0 h 6858000"/>
              <a:gd name="connsiteX7" fmla="*/ 12192000 w 12192000"/>
              <a:gd name="connsiteY7" fmla="*/ 0 h 6858000"/>
              <a:gd name="connsiteX8" fmla="*/ 12192000 w 12192000"/>
              <a:gd name="connsiteY8" fmla="*/ 6212541 h 6858000"/>
              <a:gd name="connsiteX9" fmla="*/ 12192000 w 12192000"/>
              <a:gd name="connsiteY9" fmla="*/ 6858000 h 6858000"/>
              <a:gd name="connsiteX10" fmla="*/ 11470341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245165" y="242472"/>
                </a:moveTo>
                <a:lnTo>
                  <a:pt x="245165" y="6615528"/>
                </a:lnTo>
                <a:lnTo>
                  <a:pt x="11470341" y="6615528"/>
                </a:lnTo>
                <a:lnTo>
                  <a:pt x="11470341" y="6212541"/>
                </a:lnTo>
                <a:lnTo>
                  <a:pt x="11936921" y="6212541"/>
                </a:lnTo>
                <a:lnTo>
                  <a:pt x="11936921" y="24247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212541"/>
                </a:lnTo>
                <a:lnTo>
                  <a:pt x="12192000" y="6858000"/>
                </a:lnTo>
                <a:lnTo>
                  <a:pt x="1147034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97317161-2CD7-7DFA-011F-A55C360C705F}"/>
              </a:ext>
            </a:extLst>
          </p:cNvPr>
          <p:cNvSpPr/>
          <p:nvPr/>
        </p:nvSpPr>
        <p:spPr>
          <a:xfrm>
            <a:off x="8917401" y="2927688"/>
            <a:ext cx="3019519" cy="3674852"/>
          </a:xfrm>
          <a:custGeom>
            <a:avLst/>
            <a:gdLst>
              <a:gd name="connsiteX0" fmla="*/ 676211 w 790892"/>
              <a:gd name="connsiteY0" fmla="*/ 962478 h 962541"/>
              <a:gd name="connsiteX1" fmla="*/ 24892 w 790892"/>
              <a:gd name="connsiteY1" fmla="*/ 962478 h 962541"/>
              <a:gd name="connsiteX2" fmla="*/ 444 w 790892"/>
              <a:gd name="connsiteY2" fmla="*/ 938030 h 962541"/>
              <a:gd name="connsiteX3" fmla="*/ 127 w 790892"/>
              <a:gd name="connsiteY3" fmla="*/ 366593 h 962541"/>
              <a:gd name="connsiteX4" fmla="*/ 0 w 790892"/>
              <a:gd name="connsiteY4" fmla="*/ 304744 h 962541"/>
              <a:gd name="connsiteX5" fmla="*/ 0 w 790892"/>
              <a:gd name="connsiteY5" fmla="*/ 262390 h 962541"/>
              <a:gd name="connsiteX6" fmla="*/ 11620 w 790892"/>
              <a:gd name="connsiteY6" fmla="*/ 242261 h 962541"/>
              <a:gd name="connsiteX7" fmla="*/ 388556 w 790892"/>
              <a:gd name="connsiteY7" fmla="*/ 2421 h 962541"/>
              <a:gd name="connsiteX8" fmla="*/ 405447 w 790892"/>
              <a:gd name="connsiteY8" fmla="*/ 2485 h 962541"/>
              <a:gd name="connsiteX9" fmla="*/ 779780 w 790892"/>
              <a:gd name="connsiteY9" fmla="*/ 242578 h 962541"/>
              <a:gd name="connsiteX10" fmla="*/ 790766 w 790892"/>
              <a:gd name="connsiteY10" fmla="*/ 261311 h 962541"/>
              <a:gd name="connsiteX11" fmla="*/ 790766 w 790892"/>
              <a:gd name="connsiteY11" fmla="*/ 295092 h 962541"/>
              <a:gd name="connsiteX12" fmla="*/ 790892 w 790892"/>
              <a:gd name="connsiteY12" fmla="*/ 364435 h 962541"/>
              <a:gd name="connsiteX13" fmla="*/ 790892 w 790892"/>
              <a:gd name="connsiteY13" fmla="*/ 938157 h 962541"/>
              <a:gd name="connsiteX14" fmla="*/ 766508 w 790892"/>
              <a:gd name="connsiteY14" fmla="*/ 962541 h 962541"/>
              <a:gd name="connsiteX15" fmla="*/ 676211 w 790892"/>
              <a:gd name="connsiteY15" fmla="*/ 962541 h 96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90892" h="962541">
                <a:moveTo>
                  <a:pt x="676211" y="962478"/>
                </a:moveTo>
                <a:lnTo>
                  <a:pt x="24892" y="962478"/>
                </a:lnTo>
                <a:cubicBezTo>
                  <a:pt x="11493" y="962478"/>
                  <a:pt x="444" y="951429"/>
                  <a:pt x="444" y="938030"/>
                </a:cubicBezTo>
                <a:cubicBezTo>
                  <a:pt x="127" y="673806"/>
                  <a:pt x="127" y="624277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8"/>
                  <a:pt x="4699" y="246642"/>
                  <a:pt x="11620" y="242261"/>
                </a:cubicBezTo>
                <a:cubicBezTo>
                  <a:pt x="64262" y="208732"/>
                  <a:pt x="288036" y="66048"/>
                  <a:pt x="388556" y="2421"/>
                </a:cubicBezTo>
                <a:cubicBezTo>
                  <a:pt x="393700" y="-818"/>
                  <a:pt x="400303" y="-818"/>
                  <a:pt x="405447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2"/>
                </a:lnTo>
                <a:cubicBezTo>
                  <a:pt x="790766" y="295092"/>
                  <a:pt x="790892" y="364435"/>
                  <a:pt x="790892" y="364435"/>
                </a:cubicBezTo>
                <a:lnTo>
                  <a:pt x="790892" y="938157"/>
                </a:lnTo>
                <a:cubicBezTo>
                  <a:pt x="790892" y="951619"/>
                  <a:pt x="779970" y="962541"/>
                  <a:pt x="766508" y="962541"/>
                </a:cubicBezTo>
                <a:lnTo>
                  <a:pt x="676211" y="962541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582EB5B-084C-DCFD-141C-6E9AF1C450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994" y="2825912"/>
            <a:ext cx="6764047" cy="719689"/>
          </a:xfrm>
        </p:spPr>
        <p:txBody>
          <a:bodyPr anchor="t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A1332AA-01BD-4DB9-F2AF-DD4CA84D3B3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97994" y="3549139"/>
            <a:ext cx="6764047" cy="528002"/>
          </a:xfrm>
        </p:spPr>
        <p:txBody>
          <a:bodyPr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Helvetica" pitchFamily="2" charset="0"/>
                <a:ea typeface="Bagoss Standard" panose="020B0504060102020204" pitchFamily="34" charset="77"/>
                <a:cs typeface="Bagoss Standard" panose="020B0504060102020204" pitchFamily="34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257277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-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1C625431-9E2B-4C54-D4A1-FBD287B9FB02}"/>
              </a:ext>
            </a:extLst>
          </p:cNvPr>
          <p:cNvSpPr/>
          <p:nvPr/>
        </p:nvSpPr>
        <p:spPr>
          <a:xfrm>
            <a:off x="-1" y="-1"/>
            <a:ext cx="12192000" cy="6858000"/>
          </a:xfrm>
          <a:custGeom>
            <a:avLst/>
            <a:gdLst>
              <a:gd name="connsiteX0" fmla="*/ 245165 w 12192000"/>
              <a:gd name="connsiteY0" fmla="*/ 242472 h 6858000"/>
              <a:gd name="connsiteX1" fmla="*/ 245165 w 12192000"/>
              <a:gd name="connsiteY1" fmla="*/ 6615528 h 6858000"/>
              <a:gd name="connsiteX2" fmla="*/ 11470341 w 12192000"/>
              <a:gd name="connsiteY2" fmla="*/ 6615528 h 6858000"/>
              <a:gd name="connsiteX3" fmla="*/ 11470341 w 12192000"/>
              <a:gd name="connsiteY3" fmla="*/ 6212541 h 6858000"/>
              <a:gd name="connsiteX4" fmla="*/ 11936921 w 12192000"/>
              <a:gd name="connsiteY4" fmla="*/ 6212541 h 6858000"/>
              <a:gd name="connsiteX5" fmla="*/ 11936921 w 12192000"/>
              <a:gd name="connsiteY5" fmla="*/ 242472 h 6858000"/>
              <a:gd name="connsiteX6" fmla="*/ 0 w 12192000"/>
              <a:gd name="connsiteY6" fmla="*/ 0 h 6858000"/>
              <a:gd name="connsiteX7" fmla="*/ 12192000 w 12192000"/>
              <a:gd name="connsiteY7" fmla="*/ 0 h 6858000"/>
              <a:gd name="connsiteX8" fmla="*/ 12192000 w 12192000"/>
              <a:gd name="connsiteY8" fmla="*/ 6212541 h 6858000"/>
              <a:gd name="connsiteX9" fmla="*/ 12192000 w 12192000"/>
              <a:gd name="connsiteY9" fmla="*/ 6858000 h 6858000"/>
              <a:gd name="connsiteX10" fmla="*/ 11470341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245165" y="242472"/>
                </a:moveTo>
                <a:lnTo>
                  <a:pt x="245165" y="6615528"/>
                </a:lnTo>
                <a:lnTo>
                  <a:pt x="11470341" y="6615528"/>
                </a:lnTo>
                <a:lnTo>
                  <a:pt x="11470341" y="6212541"/>
                </a:lnTo>
                <a:lnTo>
                  <a:pt x="11936921" y="6212541"/>
                </a:lnTo>
                <a:lnTo>
                  <a:pt x="11936921" y="24247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212541"/>
                </a:lnTo>
                <a:lnTo>
                  <a:pt x="12192000" y="6858000"/>
                </a:lnTo>
                <a:lnTo>
                  <a:pt x="1147034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97317161-2CD7-7DFA-011F-A55C360C705F}"/>
              </a:ext>
            </a:extLst>
          </p:cNvPr>
          <p:cNvSpPr/>
          <p:nvPr/>
        </p:nvSpPr>
        <p:spPr>
          <a:xfrm>
            <a:off x="8917401" y="2927688"/>
            <a:ext cx="3019519" cy="3674852"/>
          </a:xfrm>
          <a:custGeom>
            <a:avLst/>
            <a:gdLst>
              <a:gd name="connsiteX0" fmla="*/ 676211 w 790892"/>
              <a:gd name="connsiteY0" fmla="*/ 962478 h 962541"/>
              <a:gd name="connsiteX1" fmla="*/ 24892 w 790892"/>
              <a:gd name="connsiteY1" fmla="*/ 962478 h 962541"/>
              <a:gd name="connsiteX2" fmla="*/ 444 w 790892"/>
              <a:gd name="connsiteY2" fmla="*/ 938030 h 962541"/>
              <a:gd name="connsiteX3" fmla="*/ 127 w 790892"/>
              <a:gd name="connsiteY3" fmla="*/ 366593 h 962541"/>
              <a:gd name="connsiteX4" fmla="*/ 0 w 790892"/>
              <a:gd name="connsiteY4" fmla="*/ 304744 h 962541"/>
              <a:gd name="connsiteX5" fmla="*/ 0 w 790892"/>
              <a:gd name="connsiteY5" fmla="*/ 262390 h 962541"/>
              <a:gd name="connsiteX6" fmla="*/ 11620 w 790892"/>
              <a:gd name="connsiteY6" fmla="*/ 242261 h 962541"/>
              <a:gd name="connsiteX7" fmla="*/ 388556 w 790892"/>
              <a:gd name="connsiteY7" fmla="*/ 2421 h 962541"/>
              <a:gd name="connsiteX8" fmla="*/ 405447 w 790892"/>
              <a:gd name="connsiteY8" fmla="*/ 2485 h 962541"/>
              <a:gd name="connsiteX9" fmla="*/ 779780 w 790892"/>
              <a:gd name="connsiteY9" fmla="*/ 242578 h 962541"/>
              <a:gd name="connsiteX10" fmla="*/ 790766 w 790892"/>
              <a:gd name="connsiteY10" fmla="*/ 261311 h 962541"/>
              <a:gd name="connsiteX11" fmla="*/ 790766 w 790892"/>
              <a:gd name="connsiteY11" fmla="*/ 295092 h 962541"/>
              <a:gd name="connsiteX12" fmla="*/ 790892 w 790892"/>
              <a:gd name="connsiteY12" fmla="*/ 364435 h 962541"/>
              <a:gd name="connsiteX13" fmla="*/ 790892 w 790892"/>
              <a:gd name="connsiteY13" fmla="*/ 938157 h 962541"/>
              <a:gd name="connsiteX14" fmla="*/ 766508 w 790892"/>
              <a:gd name="connsiteY14" fmla="*/ 962541 h 962541"/>
              <a:gd name="connsiteX15" fmla="*/ 676211 w 790892"/>
              <a:gd name="connsiteY15" fmla="*/ 962541 h 96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90892" h="962541">
                <a:moveTo>
                  <a:pt x="676211" y="962478"/>
                </a:moveTo>
                <a:lnTo>
                  <a:pt x="24892" y="962478"/>
                </a:lnTo>
                <a:cubicBezTo>
                  <a:pt x="11493" y="962478"/>
                  <a:pt x="444" y="951429"/>
                  <a:pt x="444" y="938030"/>
                </a:cubicBezTo>
                <a:cubicBezTo>
                  <a:pt x="127" y="673806"/>
                  <a:pt x="127" y="624277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8"/>
                  <a:pt x="4699" y="246642"/>
                  <a:pt x="11620" y="242261"/>
                </a:cubicBezTo>
                <a:cubicBezTo>
                  <a:pt x="64262" y="208732"/>
                  <a:pt x="288036" y="66048"/>
                  <a:pt x="388556" y="2421"/>
                </a:cubicBezTo>
                <a:cubicBezTo>
                  <a:pt x="393700" y="-818"/>
                  <a:pt x="400303" y="-818"/>
                  <a:pt x="405447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2"/>
                </a:lnTo>
                <a:cubicBezTo>
                  <a:pt x="790766" y="295092"/>
                  <a:pt x="790892" y="364435"/>
                  <a:pt x="790892" y="364435"/>
                </a:cubicBezTo>
                <a:lnTo>
                  <a:pt x="790892" y="938157"/>
                </a:lnTo>
                <a:cubicBezTo>
                  <a:pt x="790892" y="951619"/>
                  <a:pt x="779970" y="962541"/>
                  <a:pt x="766508" y="962541"/>
                </a:cubicBezTo>
                <a:lnTo>
                  <a:pt x="676211" y="962541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D4E06B4-BCDE-E193-5DD3-9529880AAB2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994" y="2825912"/>
            <a:ext cx="6764047" cy="719689"/>
          </a:xfrm>
        </p:spPr>
        <p:txBody>
          <a:bodyPr anchor="t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E452B0E-3B88-2456-FB13-B76AED013E6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97994" y="3549139"/>
            <a:ext cx="6764047" cy="528002"/>
          </a:xfrm>
        </p:spPr>
        <p:txBody>
          <a:bodyPr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Helvetica" pitchFamily="2" charset="0"/>
                <a:ea typeface="Bagoss Standard" panose="020B0504060102020204" pitchFamily="34" charset="77"/>
                <a:cs typeface="Bagoss Standard" panose="020B0504060102020204" pitchFamily="34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966892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-5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27E7597D-23CD-18B4-3544-1C1373EEDDCE}"/>
              </a:ext>
            </a:extLst>
          </p:cNvPr>
          <p:cNvSpPr/>
          <p:nvPr/>
        </p:nvSpPr>
        <p:spPr>
          <a:xfrm>
            <a:off x="-1" y="-1"/>
            <a:ext cx="12192000" cy="6858000"/>
          </a:xfrm>
          <a:custGeom>
            <a:avLst/>
            <a:gdLst>
              <a:gd name="connsiteX0" fmla="*/ 245165 w 12192000"/>
              <a:gd name="connsiteY0" fmla="*/ 242472 h 6858000"/>
              <a:gd name="connsiteX1" fmla="*/ 245165 w 12192000"/>
              <a:gd name="connsiteY1" fmla="*/ 6615528 h 6858000"/>
              <a:gd name="connsiteX2" fmla="*/ 11470341 w 12192000"/>
              <a:gd name="connsiteY2" fmla="*/ 6615528 h 6858000"/>
              <a:gd name="connsiteX3" fmla="*/ 11470341 w 12192000"/>
              <a:gd name="connsiteY3" fmla="*/ 6212541 h 6858000"/>
              <a:gd name="connsiteX4" fmla="*/ 11936921 w 12192000"/>
              <a:gd name="connsiteY4" fmla="*/ 6212541 h 6858000"/>
              <a:gd name="connsiteX5" fmla="*/ 11936921 w 12192000"/>
              <a:gd name="connsiteY5" fmla="*/ 242472 h 6858000"/>
              <a:gd name="connsiteX6" fmla="*/ 0 w 12192000"/>
              <a:gd name="connsiteY6" fmla="*/ 0 h 6858000"/>
              <a:gd name="connsiteX7" fmla="*/ 12192000 w 12192000"/>
              <a:gd name="connsiteY7" fmla="*/ 0 h 6858000"/>
              <a:gd name="connsiteX8" fmla="*/ 12192000 w 12192000"/>
              <a:gd name="connsiteY8" fmla="*/ 6212541 h 6858000"/>
              <a:gd name="connsiteX9" fmla="*/ 12192000 w 12192000"/>
              <a:gd name="connsiteY9" fmla="*/ 6858000 h 6858000"/>
              <a:gd name="connsiteX10" fmla="*/ 11470341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245165" y="242472"/>
                </a:moveTo>
                <a:lnTo>
                  <a:pt x="245165" y="6615528"/>
                </a:lnTo>
                <a:lnTo>
                  <a:pt x="11470341" y="6615528"/>
                </a:lnTo>
                <a:lnTo>
                  <a:pt x="11470341" y="6212541"/>
                </a:lnTo>
                <a:lnTo>
                  <a:pt x="11936921" y="6212541"/>
                </a:lnTo>
                <a:lnTo>
                  <a:pt x="11936921" y="24247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212541"/>
                </a:lnTo>
                <a:lnTo>
                  <a:pt x="12192000" y="6858000"/>
                </a:lnTo>
                <a:lnTo>
                  <a:pt x="1147034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97317161-2CD7-7DFA-011F-A55C360C705F}"/>
              </a:ext>
            </a:extLst>
          </p:cNvPr>
          <p:cNvSpPr/>
          <p:nvPr/>
        </p:nvSpPr>
        <p:spPr>
          <a:xfrm>
            <a:off x="8917401" y="2927688"/>
            <a:ext cx="3019519" cy="3674852"/>
          </a:xfrm>
          <a:custGeom>
            <a:avLst/>
            <a:gdLst>
              <a:gd name="connsiteX0" fmla="*/ 676211 w 790892"/>
              <a:gd name="connsiteY0" fmla="*/ 962478 h 962541"/>
              <a:gd name="connsiteX1" fmla="*/ 24892 w 790892"/>
              <a:gd name="connsiteY1" fmla="*/ 962478 h 962541"/>
              <a:gd name="connsiteX2" fmla="*/ 444 w 790892"/>
              <a:gd name="connsiteY2" fmla="*/ 938030 h 962541"/>
              <a:gd name="connsiteX3" fmla="*/ 127 w 790892"/>
              <a:gd name="connsiteY3" fmla="*/ 366593 h 962541"/>
              <a:gd name="connsiteX4" fmla="*/ 0 w 790892"/>
              <a:gd name="connsiteY4" fmla="*/ 304744 h 962541"/>
              <a:gd name="connsiteX5" fmla="*/ 0 w 790892"/>
              <a:gd name="connsiteY5" fmla="*/ 262390 h 962541"/>
              <a:gd name="connsiteX6" fmla="*/ 11620 w 790892"/>
              <a:gd name="connsiteY6" fmla="*/ 242261 h 962541"/>
              <a:gd name="connsiteX7" fmla="*/ 388556 w 790892"/>
              <a:gd name="connsiteY7" fmla="*/ 2421 h 962541"/>
              <a:gd name="connsiteX8" fmla="*/ 405447 w 790892"/>
              <a:gd name="connsiteY8" fmla="*/ 2485 h 962541"/>
              <a:gd name="connsiteX9" fmla="*/ 779780 w 790892"/>
              <a:gd name="connsiteY9" fmla="*/ 242578 h 962541"/>
              <a:gd name="connsiteX10" fmla="*/ 790766 w 790892"/>
              <a:gd name="connsiteY10" fmla="*/ 261311 h 962541"/>
              <a:gd name="connsiteX11" fmla="*/ 790766 w 790892"/>
              <a:gd name="connsiteY11" fmla="*/ 295092 h 962541"/>
              <a:gd name="connsiteX12" fmla="*/ 790892 w 790892"/>
              <a:gd name="connsiteY12" fmla="*/ 364435 h 962541"/>
              <a:gd name="connsiteX13" fmla="*/ 790892 w 790892"/>
              <a:gd name="connsiteY13" fmla="*/ 938157 h 962541"/>
              <a:gd name="connsiteX14" fmla="*/ 766508 w 790892"/>
              <a:gd name="connsiteY14" fmla="*/ 962541 h 962541"/>
              <a:gd name="connsiteX15" fmla="*/ 676211 w 790892"/>
              <a:gd name="connsiteY15" fmla="*/ 962541 h 96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90892" h="962541">
                <a:moveTo>
                  <a:pt x="676211" y="962478"/>
                </a:moveTo>
                <a:lnTo>
                  <a:pt x="24892" y="962478"/>
                </a:lnTo>
                <a:cubicBezTo>
                  <a:pt x="11493" y="962478"/>
                  <a:pt x="444" y="951429"/>
                  <a:pt x="444" y="938030"/>
                </a:cubicBezTo>
                <a:cubicBezTo>
                  <a:pt x="127" y="673806"/>
                  <a:pt x="127" y="624277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8"/>
                  <a:pt x="4699" y="246642"/>
                  <a:pt x="11620" y="242261"/>
                </a:cubicBezTo>
                <a:cubicBezTo>
                  <a:pt x="64262" y="208732"/>
                  <a:pt x="288036" y="66048"/>
                  <a:pt x="388556" y="2421"/>
                </a:cubicBezTo>
                <a:cubicBezTo>
                  <a:pt x="393700" y="-818"/>
                  <a:pt x="400303" y="-818"/>
                  <a:pt x="405447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2"/>
                </a:lnTo>
                <a:cubicBezTo>
                  <a:pt x="790766" y="295092"/>
                  <a:pt x="790892" y="364435"/>
                  <a:pt x="790892" y="364435"/>
                </a:cubicBezTo>
                <a:lnTo>
                  <a:pt x="790892" y="938157"/>
                </a:lnTo>
                <a:cubicBezTo>
                  <a:pt x="790892" y="951619"/>
                  <a:pt x="779970" y="962541"/>
                  <a:pt x="766508" y="962541"/>
                </a:cubicBezTo>
                <a:lnTo>
                  <a:pt x="676211" y="962541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A4756FD-979A-C11E-68B4-345C61D973BF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493185" y="494837"/>
            <a:ext cx="1057081" cy="2699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2744301-57D9-3466-4667-3834E0033A5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994" y="2825912"/>
            <a:ext cx="6764047" cy="719689"/>
          </a:xfrm>
        </p:spPr>
        <p:txBody>
          <a:bodyPr anchor="t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F426F7A-6448-F101-5D11-D7E8B1B8CC3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97994" y="3549139"/>
            <a:ext cx="6764047" cy="528002"/>
          </a:xfrm>
        </p:spPr>
        <p:txBody>
          <a:bodyPr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Helvetica" pitchFamily="2" charset="0"/>
                <a:ea typeface="Bagoss Standard" panose="020B0504060102020204" pitchFamily="34" charset="77"/>
                <a:cs typeface="Bagoss Standard" panose="020B0504060102020204" pitchFamily="34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9983902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-6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8B519E95-7500-BEB9-3977-17B14F3B9730}"/>
              </a:ext>
            </a:extLst>
          </p:cNvPr>
          <p:cNvSpPr/>
          <p:nvPr/>
        </p:nvSpPr>
        <p:spPr>
          <a:xfrm>
            <a:off x="-1" y="-1"/>
            <a:ext cx="12192000" cy="6858000"/>
          </a:xfrm>
          <a:custGeom>
            <a:avLst/>
            <a:gdLst>
              <a:gd name="connsiteX0" fmla="*/ 245165 w 12192000"/>
              <a:gd name="connsiteY0" fmla="*/ 242472 h 6858000"/>
              <a:gd name="connsiteX1" fmla="*/ 245165 w 12192000"/>
              <a:gd name="connsiteY1" fmla="*/ 6615528 h 6858000"/>
              <a:gd name="connsiteX2" fmla="*/ 11470341 w 12192000"/>
              <a:gd name="connsiteY2" fmla="*/ 6615528 h 6858000"/>
              <a:gd name="connsiteX3" fmla="*/ 11470341 w 12192000"/>
              <a:gd name="connsiteY3" fmla="*/ 6212541 h 6858000"/>
              <a:gd name="connsiteX4" fmla="*/ 11936921 w 12192000"/>
              <a:gd name="connsiteY4" fmla="*/ 6212541 h 6858000"/>
              <a:gd name="connsiteX5" fmla="*/ 11936921 w 12192000"/>
              <a:gd name="connsiteY5" fmla="*/ 242472 h 6858000"/>
              <a:gd name="connsiteX6" fmla="*/ 0 w 12192000"/>
              <a:gd name="connsiteY6" fmla="*/ 0 h 6858000"/>
              <a:gd name="connsiteX7" fmla="*/ 12192000 w 12192000"/>
              <a:gd name="connsiteY7" fmla="*/ 0 h 6858000"/>
              <a:gd name="connsiteX8" fmla="*/ 12192000 w 12192000"/>
              <a:gd name="connsiteY8" fmla="*/ 6212541 h 6858000"/>
              <a:gd name="connsiteX9" fmla="*/ 12192000 w 12192000"/>
              <a:gd name="connsiteY9" fmla="*/ 6858000 h 6858000"/>
              <a:gd name="connsiteX10" fmla="*/ 11470341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245165" y="242472"/>
                </a:moveTo>
                <a:lnTo>
                  <a:pt x="245165" y="6615528"/>
                </a:lnTo>
                <a:lnTo>
                  <a:pt x="11470341" y="6615528"/>
                </a:lnTo>
                <a:lnTo>
                  <a:pt x="11470341" y="6212541"/>
                </a:lnTo>
                <a:lnTo>
                  <a:pt x="11936921" y="6212541"/>
                </a:lnTo>
                <a:lnTo>
                  <a:pt x="11936921" y="24247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212541"/>
                </a:lnTo>
                <a:lnTo>
                  <a:pt x="12192000" y="6858000"/>
                </a:lnTo>
                <a:lnTo>
                  <a:pt x="1147034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97317161-2CD7-7DFA-011F-A55C360C705F}"/>
              </a:ext>
            </a:extLst>
          </p:cNvPr>
          <p:cNvSpPr/>
          <p:nvPr/>
        </p:nvSpPr>
        <p:spPr>
          <a:xfrm>
            <a:off x="8917401" y="2927688"/>
            <a:ext cx="3019519" cy="3674852"/>
          </a:xfrm>
          <a:custGeom>
            <a:avLst/>
            <a:gdLst>
              <a:gd name="connsiteX0" fmla="*/ 676211 w 790892"/>
              <a:gd name="connsiteY0" fmla="*/ 962478 h 962541"/>
              <a:gd name="connsiteX1" fmla="*/ 24892 w 790892"/>
              <a:gd name="connsiteY1" fmla="*/ 962478 h 962541"/>
              <a:gd name="connsiteX2" fmla="*/ 444 w 790892"/>
              <a:gd name="connsiteY2" fmla="*/ 938030 h 962541"/>
              <a:gd name="connsiteX3" fmla="*/ 127 w 790892"/>
              <a:gd name="connsiteY3" fmla="*/ 366593 h 962541"/>
              <a:gd name="connsiteX4" fmla="*/ 0 w 790892"/>
              <a:gd name="connsiteY4" fmla="*/ 304744 h 962541"/>
              <a:gd name="connsiteX5" fmla="*/ 0 w 790892"/>
              <a:gd name="connsiteY5" fmla="*/ 262390 h 962541"/>
              <a:gd name="connsiteX6" fmla="*/ 11620 w 790892"/>
              <a:gd name="connsiteY6" fmla="*/ 242261 h 962541"/>
              <a:gd name="connsiteX7" fmla="*/ 388556 w 790892"/>
              <a:gd name="connsiteY7" fmla="*/ 2421 h 962541"/>
              <a:gd name="connsiteX8" fmla="*/ 405447 w 790892"/>
              <a:gd name="connsiteY8" fmla="*/ 2485 h 962541"/>
              <a:gd name="connsiteX9" fmla="*/ 779780 w 790892"/>
              <a:gd name="connsiteY9" fmla="*/ 242578 h 962541"/>
              <a:gd name="connsiteX10" fmla="*/ 790766 w 790892"/>
              <a:gd name="connsiteY10" fmla="*/ 261311 h 962541"/>
              <a:gd name="connsiteX11" fmla="*/ 790766 w 790892"/>
              <a:gd name="connsiteY11" fmla="*/ 295092 h 962541"/>
              <a:gd name="connsiteX12" fmla="*/ 790892 w 790892"/>
              <a:gd name="connsiteY12" fmla="*/ 364435 h 962541"/>
              <a:gd name="connsiteX13" fmla="*/ 790892 w 790892"/>
              <a:gd name="connsiteY13" fmla="*/ 938157 h 962541"/>
              <a:gd name="connsiteX14" fmla="*/ 766508 w 790892"/>
              <a:gd name="connsiteY14" fmla="*/ 962541 h 962541"/>
              <a:gd name="connsiteX15" fmla="*/ 676211 w 790892"/>
              <a:gd name="connsiteY15" fmla="*/ 962541 h 96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90892" h="962541">
                <a:moveTo>
                  <a:pt x="676211" y="962478"/>
                </a:moveTo>
                <a:lnTo>
                  <a:pt x="24892" y="962478"/>
                </a:lnTo>
                <a:cubicBezTo>
                  <a:pt x="11493" y="962478"/>
                  <a:pt x="444" y="951429"/>
                  <a:pt x="444" y="938030"/>
                </a:cubicBezTo>
                <a:cubicBezTo>
                  <a:pt x="127" y="673806"/>
                  <a:pt x="127" y="624277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8"/>
                  <a:pt x="4699" y="246642"/>
                  <a:pt x="11620" y="242261"/>
                </a:cubicBezTo>
                <a:cubicBezTo>
                  <a:pt x="64262" y="208732"/>
                  <a:pt x="288036" y="66048"/>
                  <a:pt x="388556" y="2421"/>
                </a:cubicBezTo>
                <a:cubicBezTo>
                  <a:pt x="393700" y="-818"/>
                  <a:pt x="400303" y="-818"/>
                  <a:pt x="405447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2"/>
                </a:lnTo>
                <a:cubicBezTo>
                  <a:pt x="790766" y="295092"/>
                  <a:pt x="790892" y="364435"/>
                  <a:pt x="790892" y="364435"/>
                </a:cubicBezTo>
                <a:lnTo>
                  <a:pt x="790892" y="938157"/>
                </a:lnTo>
                <a:cubicBezTo>
                  <a:pt x="790892" y="951619"/>
                  <a:pt x="779970" y="962541"/>
                  <a:pt x="766508" y="962541"/>
                </a:cubicBezTo>
                <a:lnTo>
                  <a:pt x="676211" y="962541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344FC1-E56C-4BE0-52E6-B6002A5DF94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994" y="2825912"/>
            <a:ext cx="6764047" cy="719689"/>
          </a:xfrm>
        </p:spPr>
        <p:txBody>
          <a:bodyPr anchor="t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978B62D-4130-4E39-D84A-5586FA82F98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97994" y="3549139"/>
            <a:ext cx="6764047" cy="528002"/>
          </a:xfrm>
        </p:spPr>
        <p:txBody>
          <a:bodyPr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Helvetica" pitchFamily="2" charset="0"/>
                <a:ea typeface="Bagoss Standard" panose="020B0504060102020204" pitchFamily="34" charset="77"/>
                <a:cs typeface="Bagoss Standard" panose="020B0504060102020204" pitchFamily="34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051612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-7">
    <p:bg>
      <p:bgPr>
        <a:solidFill>
          <a:srgbClr val="BAE1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>
            <a:extLst>
              <a:ext uri="{FF2B5EF4-FFF2-40B4-BE49-F238E27FC236}">
                <a16:creationId xmlns:a16="http://schemas.microsoft.com/office/drawing/2014/main" id="{FE1ABC8E-BB98-C919-E6BC-AA7B39186957}"/>
              </a:ext>
            </a:extLst>
          </p:cNvPr>
          <p:cNvSpPr/>
          <p:nvPr/>
        </p:nvSpPr>
        <p:spPr>
          <a:xfrm>
            <a:off x="-1" y="-1"/>
            <a:ext cx="12192000" cy="6858000"/>
          </a:xfrm>
          <a:custGeom>
            <a:avLst/>
            <a:gdLst>
              <a:gd name="connsiteX0" fmla="*/ 245165 w 12192000"/>
              <a:gd name="connsiteY0" fmla="*/ 242472 h 6858000"/>
              <a:gd name="connsiteX1" fmla="*/ 245165 w 12192000"/>
              <a:gd name="connsiteY1" fmla="*/ 6615528 h 6858000"/>
              <a:gd name="connsiteX2" fmla="*/ 11470341 w 12192000"/>
              <a:gd name="connsiteY2" fmla="*/ 6615528 h 6858000"/>
              <a:gd name="connsiteX3" fmla="*/ 11470341 w 12192000"/>
              <a:gd name="connsiteY3" fmla="*/ 6212541 h 6858000"/>
              <a:gd name="connsiteX4" fmla="*/ 11936921 w 12192000"/>
              <a:gd name="connsiteY4" fmla="*/ 6212541 h 6858000"/>
              <a:gd name="connsiteX5" fmla="*/ 11936921 w 12192000"/>
              <a:gd name="connsiteY5" fmla="*/ 242472 h 6858000"/>
              <a:gd name="connsiteX6" fmla="*/ 0 w 12192000"/>
              <a:gd name="connsiteY6" fmla="*/ 0 h 6858000"/>
              <a:gd name="connsiteX7" fmla="*/ 12192000 w 12192000"/>
              <a:gd name="connsiteY7" fmla="*/ 0 h 6858000"/>
              <a:gd name="connsiteX8" fmla="*/ 12192000 w 12192000"/>
              <a:gd name="connsiteY8" fmla="*/ 6212541 h 6858000"/>
              <a:gd name="connsiteX9" fmla="*/ 12192000 w 12192000"/>
              <a:gd name="connsiteY9" fmla="*/ 6858000 h 6858000"/>
              <a:gd name="connsiteX10" fmla="*/ 11470341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245165" y="242472"/>
                </a:moveTo>
                <a:lnTo>
                  <a:pt x="245165" y="6615528"/>
                </a:lnTo>
                <a:lnTo>
                  <a:pt x="11470341" y="6615528"/>
                </a:lnTo>
                <a:lnTo>
                  <a:pt x="11470341" y="6212541"/>
                </a:lnTo>
                <a:lnTo>
                  <a:pt x="11936921" y="6212541"/>
                </a:lnTo>
                <a:lnTo>
                  <a:pt x="11936921" y="24247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212541"/>
                </a:lnTo>
                <a:lnTo>
                  <a:pt x="12192000" y="6858000"/>
                </a:lnTo>
                <a:lnTo>
                  <a:pt x="1147034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97317161-2CD7-7DFA-011F-A55C360C705F}"/>
              </a:ext>
            </a:extLst>
          </p:cNvPr>
          <p:cNvSpPr/>
          <p:nvPr/>
        </p:nvSpPr>
        <p:spPr>
          <a:xfrm>
            <a:off x="8917401" y="2927688"/>
            <a:ext cx="3019519" cy="3674852"/>
          </a:xfrm>
          <a:custGeom>
            <a:avLst/>
            <a:gdLst>
              <a:gd name="connsiteX0" fmla="*/ 676211 w 790892"/>
              <a:gd name="connsiteY0" fmla="*/ 962478 h 962541"/>
              <a:gd name="connsiteX1" fmla="*/ 24892 w 790892"/>
              <a:gd name="connsiteY1" fmla="*/ 962478 h 962541"/>
              <a:gd name="connsiteX2" fmla="*/ 444 w 790892"/>
              <a:gd name="connsiteY2" fmla="*/ 938030 h 962541"/>
              <a:gd name="connsiteX3" fmla="*/ 127 w 790892"/>
              <a:gd name="connsiteY3" fmla="*/ 366593 h 962541"/>
              <a:gd name="connsiteX4" fmla="*/ 0 w 790892"/>
              <a:gd name="connsiteY4" fmla="*/ 304744 h 962541"/>
              <a:gd name="connsiteX5" fmla="*/ 0 w 790892"/>
              <a:gd name="connsiteY5" fmla="*/ 262390 h 962541"/>
              <a:gd name="connsiteX6" fmla="*/ 11620 w 790892"/>
              <a:gd name="connsiteY6" fmla="*/ 242261 h 962541"/>
              <a:gd name="connsiteX7" fmla="*/ 388556 w 790892"/>
              <a:gd name="connsiteY7" fmla="*/ 2421 h 962541"/>
              <a:gd name="connsiteX8" fmla="*/ 405447 w 790892"/>
              <a:gd name="connsiteY8" fmla="*/ 2485 h 962541"/>
              <a:gd name="connsiteX9" fmla="*/ 779780 w 790892"/>
              <a:gd name="connsiteY9" fmla="*/ 242578 h 962541"/>
              <a:gd name="connsiteX10" fmla="*/ 790766 w 790892"/>
              <a:gd name="connsiteY10" fmla="*/ 261311 h 962541"/>
              <a:gd name="connsiteX11" fmla="*/ 790766 w 790892"/>
              <a:gd name="connsiteY11" fmla="*/ 295092 h 962541"/>
              <a:gd name="connsiteX12" fmla="*/ 790892 w 790892"/>
              <a:gd name="connsiteY12" fmla="*/ 364435 h 962541"/>
              <a:gd name="connsiteX13" fmla="*/ 790892 w 790892"/>
              <a:gd name="connsiteY13" fmla="*/ 938157 h 962541"/>
              <a:gd name="connsiteX14" fmla="*/ 766508 w 790892"/>
              <a:gd name="connsiteY14" fmla="*/ 962541 h 962541"/>
              <a:gd name="connsiteX15" fmla="*/ 676211 w 790892"/>
              <a:gd name="connsiteY15" fmla="*/ 962541 h 96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90892" h="962541">
                <a:moveTo>
                  <a:pt x="676211" y="962478"/>
                </a:moveTo>
                <a:lnTo>
                  <a:pt x="24892" y="962478"/>
                </a:lnTo>
                <a:cubicBezTo>
                  <a:pt x="11493" y="962478"/>
                  <a:pt x="444" y="951429"/>
                  <a:pt x="444" y="938030"/>
                </a:cubicBezTo>
                <a:cubicBezTo>
                  <a:pt x="127" y="673806"/>
                  <a:pt x="127" y="624277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8"/>
                  <a:pt x="4699" y="246642"/>
                  <a:pt x="11620" y="242261"/>
                </a:cubicBezTo>
                <a:cubicBezTo>
                  <a:pt x="64262" y="208732"/>
                  <a:pt x="288036" y="66048"/>
                  <a:pt x="388556" y="2421"/>
                </a:cubicBezTo>
                <a:cubicBezTo>
                  <a:pt x="393700" y="-818"/>
                  <a:pt x="400303" y="-818"/>
                  <a:pt x="405447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2"/>
                </a:lnTo>
                <a:cubicBezTo>
                  <a:pt x="790766" y="295092"/>
                  <a:pt x="790892" y="364435"/>
                  <a:pt x="790892" y="364435"/>
                </a:cubicBezTo>
                <a:lnTo>
                  <a:pt x="790892" y="938157"/>
                </a:lnTo>
                <a:cubicBezTo>
                  <a:pt x="790892" y="951619"/>
                  <a:pt x="779970" y="962541"/>
                  <a:pt x="766508" y="962541"/>
                </a:cubicBezTo>
                <a:lnTo>
                  <a:pt x="676211" y="962541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430ACE5-299E-43D7-A027-8B5E39AD8EC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994" y="2825912"/>
            <a:ext cx="6764047" cy="719689"/>
          </a:xfrm>
        </p:spPr>
        <p:txBody>
          <a:bodyPr anchor="t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8B020B9-60C4-1BD5-7AFD-0C9963474B6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97994" y="3549139"/>
            <a:ext cx="6764047" cy="528002"/>
          </a:xfrm>
        </p:spPr>
        <p:txBody>
          <a:bodyPr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Helvetica" pitchFamily="2" charset="0"/>
                <a:ea typeface="Bagoss Standard" panose="020B0504060102020204" pitchFamily="34" charset="77"/>
                <a:cs typeface="Bagoss Standard" panose="020B0504060102020204" pitchFamily="34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300370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EC03E5B7-CF6E-F316-9C77-8633F0610381}"/>
              </a:ext>
            </a:extLst>
          </p:cNvPr>
          <p:cNvSpPr txBox="1"/>
          <p:nvPr userDrawn="1"/>
        </p:nvSpPr>
        <p:spPr>
          <a:xfrm>
            <a:off x="925399" y="4699262"/>
            <a:ext cx="824845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sz="32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30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839685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Image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DAC7475A-D825-27AD-E90C-6D6F891139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52353" y="1053550"/>
            <a:ext cx="4922923" cy="541204"/>
          </a:xfrm>
        </p:spPr>
        <p:txBody>
          <a:bodyPr anchor="t">
            <a:noAutofit/>
          </a:bodyPr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Content Placeholder 19">
            <a:extLst>
              <a:ext uri="{FF2B5EF4-FFF2-40B4-BE49-F238E27FC236}">
                <a16:creationId xmlns:a16="http://schemas.microsoft.com/office/drawing/2014/main" id="{13326030-A74D-2B00-AF2B-8DF9972FFEF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152354" y="2017643"/>
            <a:ext cx="4922923" cy="414229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/>
            </a:lvl1pPr>
            <a:lvl2pPr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30F2710-FC3C-27DC-6499-365E8CF8579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11038" y="242471"/>
            <a:ext cx="5225882" cy="6360069"/>
          </a:xfrm>
          <a:custGeom>
            <a:avLst/>
            <a:gdLst>
              <a:gd name="connsiteX0" fmla="*/ 2623219 w 5225882"/>
              <a:gd name="connsiteY0" fmla="*/ 1 h 6360069"/>
              <a:gd name="connsiteX1" fmla="*/ 2679024 w 5225882"/>
              <a:gd name="connsiteY1" fmla="*/ 16423 h 6360069"/>
              <a:gd name="connsiteX2" fmla="*/ 5152458 w 5225882"/>
              <a:gd name="connsiteY2" fmla="*/ 1602857 h 6360069"/>
              <a:gd name="connsiteX3" fmla="*/ 5225050 w 5225882"/>
              <a:gd name="connsiteY3" fmla="*/ 1726636 h 6360069"/>
              <a:gd name="connsiteX4" fmla="*/ 5225050 w 5225882"/>
              <a:gd name="connsiteY4" fmla="*/ 1949847 h 6360069"/>
              <a:gd name="connsiteX5" fmla="*/ 5225882 w 5225882"/>
              <a:gd name="connsiteY5" fmla="*/ 2408037 h 6360069"/>
              <a:gd name="connsiteX6" fmla="*/ 5225882 w 5225882"/>
              <a:gd name="connsiteY6" fmla="*/ 6198950 h 6360069"/>
              <a:gd name="connsiteX7" fmla="*/ 5064763 w 5225882"/>
              <a:gd name="connsiteY7" fmla="*/ 6360069 h 6360069"/>
              <a:gd name="connsiteX8" fmla="*/ 4468118 w 5225882"/>
              <a:gd name="connsiteY8" fmla="*/ 6360069 h 6360069"/>
              <a:gd name="connsiteX9" fmla="*/ 4468118 w 5225882"/>
              <a:gd name="connsiteY9" fmla="*/ 6359653 h 6360069"/>
              <a:gd name="connsiteX10" fmla="*/ 164476 w 5225882"/>
              <a:gd name="connsiteY10" fmla="*/ 6359653 h 6360069"/>
              <a:gd name="connsiteX11" fmla="*/ 2934 w 5225882"/>
              <a:gd name="connsiteY11" fmla="*/ 6198111 h 6360069"/>
              <a:gd name="connsiteX12" fmla="*/ 839 w 5225882"/>
              <a:gd name="connsiteY12" fmla="*/ 2422295 h 6360069"/>
              <a:gd name="connsiteX13" fmla="*/ 0 w 5225882"/>
              <a:gd name="connsiteY13" fmla="*/ 2013623 h 6360069"/>
              <a:gd name="connsiteX14" fmla="*/ 0 w 5225882"/>
              <a:gd name="connsiteY14" fmla="*/ 1733766 h 6360069"/>
              <a:gd name="connsiteX15" fmla="*/ 76780 w 5225882"/>
              <a:gd name="connsiteY15" fmla="*/ 1600762 h 6360069"/>
              <a:gd name="connsiteX16" fmla="*/ 2567415 w 5225882"/>
              <a:gd name="connsiteY16" fmla="*/ 16000 h 6360069"/>
              <a:gd name="connsiteX17" fmla="*/ 2623219 w 5225882"/>
              <a:gd name="connsiteY17" fmla="*/ 1 h 63600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225882" h="6360069">
                <a:moveTo>
                  <a:pt x="2623219" y="1"/>
                </a:moveTo>
                <a:cubicBezTo>
                  <a:pt x="2642624" y="54"/>
                  <a:pt x="2662029" y="5511"/>
                  <a:pt x="2679024" y="16423"/>
                </a:cubicBezTo>
                <a:lnTo>
                  <a:pt x="5152458" y="1602857"/>
                </a:lnTo>
                <a:cubicBezTo>
                  <a:pt x="5195256" y="1630126"/>
                  <a:pt x="5221270" y="1676703"/>
                  <a:pt x="5225050" y="1726636"/>
                </a:cubicBezTo>
                <a:lnTo>
                  <a:pt x="5225050" y="1949847"/>
                </a:lnTo>
                <a:cubicBezTo>
                  <a:pt x="5225050" y="1949847"/>
                  <a:pt x="5225882" y="2408037"/>
                  <a:pt x="5225882" y="2408037"/>
                </a:cubicBezTo>
                <a:lnTo>
                  <a:pt x="5225882" y="6198950"/>
                </a:lnTo>
                <a:cubicBezTo>
                  <a:pt x="5225882" y="6287901"/>
                  <a:pt x="5153714" y="6360069"/>
                  <a:pt x="5064763" y="6360069"/>
                </a:cubicBezTo>
                <a:lnTo>
                  <a:pt x="4468118" y="6360069"/>
                </a:lnTo>
                <a:lnTo>
                  <a:pt x="4468118" y="6359653"/>
                </a:lnTo>
                <a:lnTo>
                  <a:pt x="164476" y="6359653"/>
                </a:lnTo>
                <a:cubicBezTo>
                  <a:pt x="75941" y="6359653"/>
                  <a:pt x="2934" y="6286646"/>
                  <a:pt x="2934" y="6198111"/>
                </a:cubicBezTo>
                <a:cubicBezTo>
                  <a:pt x="839" y="4452230"/>
                  <a:pt x="839" y="4124963"/>
                  <a:pt x="839" y="2422295"/>
                </a:cubicBezTo>
                <a:lnTo>
                  <a:pt x="0" y="2013623"/>
                </a:lnTo>
                <a:lnTo>
                  <a:pt x="0" y="1733766"/>
                </a:lnTo>
                <a:cubicBezTo>
                  <a:pt x="839" y="1679637"/>
                  <a:pt x="31049" y="1629710"/>
                  <a:pt x="76780" y="1600762"/>
                </a:cubicBezTo>
                <a:cubicBezTo>
                  <a:pt x="424617" y="1379216"/>
                  <a:pt x="1903221" y="436420"/>
                  <a:pt x="2567415" y="16000"/>
                </a:cubicBezTo>
                <a:cubicBezTo>
                  <a:pt x="2584410" y="5299"/>
                  <a:pt x="2603814" y="-51"/>
                  <a:pt x="2623219" y="1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9590E34F-25CD-9CAB-1F93-8354EFF3C359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1152354" y="1564570"/>
            <a:ext cx="4922923" cy="345112"/>
          </a:xfrm>
        </p:spPr>
        <p:txBody>
          <a:bodyPr numCol="1">
            <a:noAutofit/>
          </a:bodyPr>
          <a:lstStyle>
            <a:lvl1pPr marL="0" indent="0">
              <a:buNone/>
              <a:defRPr sz="2400" b="0" i="0">
                <a:latin typeface="Arial" panose="020B0604020202020204" pitchFamily="34" charset="0"/>
                <a:ea typeface="Bagoss Standard" panose="020B0504060102020204" pitchFamily="34" charset="77"/>
                <a:cs typeface="Bagoss Standard" panose="020B0504060102020204" pitchFamily="34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33618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-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>
            <a:extLst>
              <a:ext uri="{FF2B5EF4-FFF2-40B4-BE49-F238E27FC236}">
                <a16:creationId xmlns:a16="http://schemas.microsoft.com/office/drawing/2014/main" id="{FE1ABC8E-BB98-C919-E6BC-AA7B39186957}"/>
              </a:ext>
            </a:extLst>
          </p:cNvPr>
          <p:cNvSpPr/>
          <p:nvPr userDrawn="1"/>
        </p:nvSpPr>
        <p:spPr>
          <a:xfrm>
            <a:off x="-1" y="-1"/>
            <a:ext cx="12192000" cy="6858000"/>
          </a:xfrm>
          <a:custGeom>
            <a:avLst/>
            <a:gdLst>
              <a:gd name="connsiteX0" fmla="*/ 245165 w 12192000"/>
              <a:gd name="connsiteY0" fmla="*/ 242472 h 6858000"/>
              <a:gd name="connsiteX1" fmla="*/ 245165 w 12192000"/>
              <a:gd name="connsiteY1" fmla="*/ 6615528 h 6858000"/>
              <a:gd name="connsiteX2" fmla="*/ 11470341 w 12192000"/>
              <a:gd name="connsiteY2" fmla="*/ 6615528 h 6858000"/>
              <a:gd name="connsiteX3" fmla="*/ 11470341 w 12192000"/>
              <a:gd name="connsiteY3" fmla="*/ 6212541 h 6858000"/>
              <a:gd name="connsiteX4" fmla="*/ 11936921 w 12192000"/>
              <a:gd name="connsiteY4" fmla="*/ 6212541 h 6858000"/>
              <a:gd name="connsiteX5" fmla="*/ 11936921 w 12192000"/>
              <a:gd name="connsiteY5" fmla="*/ 242472 h 6858000"/>
              <a:gd name="connsiteX6" fmla="*/ 0 w 12192000"/>
              <a:gd name="connsiteY6" fmla="*/ 0 h 6858000"/>
              <a:gd name="connsiteX7" fmla="*/ 12192000 w 12192000"/>
              <a:gd name="connsiteY7" fmla="*/ 0 h 6858000"/>
              <a:gd name="connsiteX8" fmla="*/ 12192000 w 12192000"/>
              <a:gd name="connsiteY8" fmla="*/ 6212541 h 6858000"/>
              <a:gd name="connsiteX9" fmla="*/ 12192000 w 12192000"/>
              <a:gd name="connsiteY9" fmla="*/ 6858000 h 6858000"/>
              <a:gd name="connsiteX10" fmla="*/ 11470341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245165" y="242472"/>
                </a:moveTo>
                <a:lnTo>
                  <a:pt x="245165" y="6615528"/>
                </a:lnTo>
                <a:lnTo>
                  <a:pt x="11470341" y="6615528"/>
                </a:lnTo>
                <a:lnTo>
                  <a:pt x="11470341" y="6212541"/>
                </a:lnTo>
                <a:lnTo>
                  <a:pt x="11936921" y="6212541"/>
                </a:lnTo>
                <a:lnTo>
                  <a:pt x="11936921" y="24247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212541"/>
                </a:lnTo>
                <a:lnTo>
                  <a:pt x="12192000" y="6858000"/>
                </a:lnTo>
                <a:lnTo>
                  <a:pt x="1147034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97317161-2CD7-7DFA-011F-A55C360C705F}"/>
              </a:ext>
            </a:extLst>
          </p:cNvPr>
          <p:cNvSpPr/>
          <p:nvPr userDrawn="1"/>
        </p:nvSpPr>
        <p:spPr>
          <a:xfrm>
            <a:off x="8917401" y="2940388"/>
            <a:ext cx="3019519" cy="3674852"/>
          </a:xfrm>
          <a:custGeom>
            <a:avLst/>
            <a:gdLst>
              <a:gd name="connsiteX0" fmla="*/ 676211 w 790892"/>
              <a:gd name="connsiteY0" fmla="*/ 962478 h 962541"/>
              <a:gd name="connsiteX1" fmla="*/ 24892 w 790892"/>
              <a:gd name="connsiteY1" fmla="*/ 962478 h 962541"/>
              <a:gd name="connsiteX2" fmla="*/ 444 w 790892"/>
              <a:gd name="connsiteY2" fmla="*/ 938030 h 962541"/>
              <a:gd name="connsiteX3" fmla="*/ 127 w 790892"/>
              <a:gd name="connsiteY3" fmla="*/ 366593 h 962541"/>
              <a:gd name="connsiteX4" fmla="*/ 0 w 790892"/>
              <a:gd name="connsiteY4" fmla="*/ 304744 h 962541"/>
              <a:gd name="connsiteX5" fmla="*/ 0 w 790892"/>
              <a:gd name="connsiteY5" fmla="*/ 262390 h 962541"/>
              <a:gd name="connsiteX6" fmla="*/ 11620 w 790892"/>
              <a:gd name="connsiteY6" fmla="*/ 242261 h 962541"/>
              <a:gd name="connsiteX7" fmla="*/ 388556 w 790892"/>
              <a:gd name="connsiteY7" fmla="*/ 2421 h 962541"/>
              <a:gd name="connsiteX8" fmla="*/ 405447 w 790892"/>
              <a:gd name="connsiteY8" fmla="*/ 2485 h 962541"/>
              <a:gd name="connsiteX9" fmla="*/ 779780 w 790892"/>
              <a:gd name="connsiteY9" fmla="*/ 242578 h 962541"/>
              <a:gd name="connsiteX10" fmla="*/ 790766 w 790892"/>
              <a:gd name="connsiteY10" fmla="*/ 261311 h 962541"/>
              <a:gd name="connsiteX11" fmla="*/ 790766 w 790892"/>
              <a:gd name="connsiteY11" fmla="*/ 295092 h 962541"/>
              <a:gd name="connsiteX12" fmla="*/ 790892 w 790892"/>
              <a:gd name="connsiteY12" fmla="*/ 364435 h 962541"/>
              <a:gd name="connsiteX13" fmla="*/ 790892 w 790892"/>
              <a:gd name="connsiteY13" fmla="*/ 938157 h 962541"/>
              <a:gd name="connsiteX14" fmla="*/ 766508 w 790892"/>
              <a:gd name="connsiteY14" fmla="*/ 962541 h 962541"/>
              <a:gd name="connsiteX15" fmla="*/ 676211 w 790892"/>
              <a:gd name="connsiteY15" fmla="*/ 962541 h 96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90892" h="962541">
                <a:moveTo>
                  <a:pt x="676211" y="962478"/>
                </a:moveTo>
                <a:lnTo>
                  <a:pt x="24892" y="962478"/>
                </a:lnTo>
                <a:cubicBezTo>
                  <a:pt x="11493" y="962478"/>
                  <a:pt x="444" y="951429"/>
                  <a:pt x="444" y="938030"/>
                </a:cubicBezTo>
                <a:cubicBezTo>
                  <a:pt x="127" y="673806"/>
                  <a:pt x="127" y="624277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8"/>
                  <a:pt x="4699" y="246642"/>
                  <a:pt x="11620" y="242261"/>
                </a:cubicBezTo>
                <a:cubicBezTo>
                  <a:pt x="64262" y="208732"/>
                  <a:pt x="288036" y="66048"/>
                  <a:pt x="388556" y="2421"/>
                </a:cubicBezTo>
                <a:cubicBezTo>
                  <a:pt x="393700" y="-818"/>
                  <a:pt x="400303" y="-818"/>
                  <a:pt x="405447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2"/>
                </a:lnTo>
                <a:cubicBezTo>
                  <a:pt x="790766" y="295092"/>
                  <a:pt x="790892" y="364435"/>
                  <a:pt x="790892" y="364435"/>
                </a:cubicBezTo>
                <a:lnTo>
                  <a:pt x="790892" y="938157"/>
                </a:lnTo>
                <a:cubicBezTo>
                  <a:pt x="790892" y="951619"/>
                  <a:pt x="779970" y="962541"/>
                  <a:pt x="766508" y="962541"/>
                </a:cubicBezTo>
                <a:lnTo>
                  <a:pt x="676211" y="962541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3BDA9D2C-B719-C1DA-683D-8957B74BDDC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897995" y="1581309"/>
            <a:ext cx="1984906" cy="50681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D92F513-228E-8AA3-D1FE-E5324CDA8C8A}"/>
              </a:ext>
            </a:extLst>
          </p:cNvPr>
          <p:cNvSpPr txBox="1"/>
          <p:nvPr userDrawn="1"/>
        </p:nvSpPr>
        <p:spPr>
          <a:xfrm>
            <a:off x="897993" y="2632637"/>
            <a:ext cx="5943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i="0">
                <a:solidFill>
                  <a:schemeClr val="tx1"/>
                </a:solidFill>
                <a:latin typeface="Helvetica" pitchFamily="2" charset="0"/>
                <a:ea typeface="Bagoss Condensed SemiBold" panose="020B0806060102020204" pitchFamily="34" charset="77"/>
                <a:cs typeface="Bagoss Condensed SemiBold" panose="020B0806060102020204" pitchFamily="34" charset="77"/>
              </a:rPr>
              <a:t>The voice of the home building industry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D24FD5E-847E-DDAA-BD93-F17ABB19451F}"/>
              </a:ext>
            </a:extLst>
          </p:cNvPr>
          <p:cNvSpPr txBox="1"/>
          <p:nvPr userDrawn="1"/>
        </p:nvSpPr>
        <p:spPr>
          <a:xfrm>
            <a:off x="897993" y="4422214"/>
            <a:ext cx="5943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0" i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ww.hbf.co.uk</a:t>
            </a:r>
            <a:r>
              <a:rPr lang="en-GB" sz="2000" b="0" i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| 0207 960 1600 | @</a:t>
            </a:r>
            <a:r>
              <a:rPr lang="en-GB" sz="2000" b="0" i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omebuildersfed</a:t>
            </a:r>
            <a:endParaRPr lang="en-GB" sz="2000" b="0" i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043983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ontent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AE2E2990-4E93-8C39-EE16-D25E46FEBE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52354" y="1053550"/>
            <a:ext cx="9866569" cy="541204"/>
          </a:xfrm>
        </p:spPr>
        <p:txBody>
          <a:bodyPr anchor="t">
            <a:noAutofit/>
          </a:bodyPr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2F29A907-3983-40C4-E76C-4D1822B15075}"/>
              </a:ext>
            </a:extLst>
          </p:cNvPr>
          <p:cNvSpPr>
            <a:spLocks noGrp="1"/>
          </p:cNvSpPr>
          <p:nvPr>
            <p:ph type="body" sz="half" idx="11"/>
          </p:nvPr>
        </p:nvSpPr>
        <p:spPr>
          <a:xfrm>
            <a:off x="1152354" y="1564570"/>
            <a:ext cx="9866569" cy="345112"/>
          </a:xfrm>
        </p:spPr>
        <p:txBody>
          <a:bodyPr numCol="1">
            <a:noAutofit/>
          </a:bodyPr>
          <a:lstStyle>
            <a:lvl1pPr marL="0" indent="0">
              <a:buNone/>
              <a:defRPr sz="2400" b="0" i="0">
                <a:latin typeface="Helvetica" pitchFamily="2" charset="0"/>
                <a:ea typeface="Bagoss Standard" panose="020B0504060102020204" pitchFamily="34" charset="77"/>
                <a:cs typeface="Bagoss Standard" panose="020B0504060102020204" pitchFamily="34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19">
            <a:extLst>
              <a:ext uri="{FF2B5EF4-FFF2-40B4-BE49-F238E27FC236}">
                <a16:creationId xmlns:a16="http://schemas.microsoft.com/office/drawing/2014/main" id="{2CB2CBFA-3D9C-FED4-03C6-4D3A67B67D8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152354" y="2017643"/>
            <a:ext cx="9866569" cy="414229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/>
            </a:lvl1pPr>
            <a:lvl2pPr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125646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ontent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BDAEDD57-623E-3D37-F372-3CC8886E89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52353" y="1054527"/>
            <a:ext cx="9866569" cy="541204"/>
          </a:xfrm>
        </p:spPr>
        <p:txBody>
          <a:bodyPr anchor="t">
            <a:noAutofit/>
          </a:bodyPr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AE1351B-7F17-0D5A-0966-C212A82B2429}"/>
              </a:ext>
            </a:extLst>
          </p:cNvPr>
          <p:cNvSpPr>
            <a:spLocks noGrp="1"/>
          </p:cNvSpPr>
          <p:nvPr>
            <p:ph type="body" sz="half" idx="11"/>
          </p:nvPr>
        </p:nvSpPr>
        <p:spPr>
          <a:xfrm>
            <a:off x="1152355" y="1683838"/>
            <a:ext cx="4817518" cy="345112"/>
          </a:xfrm>
        </p:spPr>
        <p:txBody>
          <a:bodyPr numCol="1">
            <a:noAutofit/>
          </a:bodyPr>
          <a:lstStyle>
            <a:lvl1pPr marL="0" indent="0">
              <a:buNone/>
              <a:defRPr sz="2400" b="0" i="0">
                <a:latin typeface="Helvetica" pitchFamily="2" charset="0"/>
                <a:ea typeface="Bagoss Standard" panose="020B0504060102020204" pitchFamily="34" charset="77"/>
                <a:cs typeface="Bagoss Standard" panose="020B0504060102020204" pitchFamily="34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19">
            <a:extLst>
              <a:ext uri="{FF2B5EF4-FFF2-40B4-BE49-F238E27FC236}">
                <a16:creationId xmlns:a16="http://schemas.microsoft.com/office/drawing/2014/main" id="{DF55638F-C8B8-EEAA-859E-CBF62C55AE1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152355" y="2118033"/>
            <a:ext cx="4817518" cy="404190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/>
            </a:lvl1pPr>
            <a:lvl2pPr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2655BE-F458-1F78-8C79-E0F50B611668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6221312" y="1683838"/>
            <a:ext cx="4817518" cy="345112"/>
          </a:xfrm>
        </p:spPr>
        <p:txBody>
          <a:bodyPr numCol="1">
            <a:noAutofit/>
          </a:bodyPr>
          <a:lstStyle>
            <a:lvl1pPr marL="0" indent="0">
              <a:buNone/>
              <a:defRPr sz="2400" b="0" i="0">
                <a:latin typeface="Helvetica" pitchFamily="2" charset="0"/>
                <a:ea typeface="Bagoss Standard" panose="020B0504060102020204" pitchFamily="34" charset="77"/>
                <a:cs typeface="Bagoss Standard" panose="020B0504060102020204" pitchFamily="34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19">
            <a:extLst>
              <a:ext uri="{FF2B5EF4-FFF2-40B4-BE49-F238E27FC236}">
                <a16:creationId xmlns:a16="http://schemas.microsoft.com/office/drawing/2014/main" id="{1F9F1407-E8EC-9469-3495-C495F9B0EAB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21312" y="2118033"/>
            <a:ext cx="4817518" cy="40419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/>
            </a:lvl1pPr>
            <a:lvl2pPr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12740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&amp; Content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BDAEDD57-623E-3D37-F372-3CC8886E89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52353" y="1054527"/>
            <a:ext cx="9866569" cy="541204"/>
          </a:xfrm>
        </p:spPr>
        <p:txBody>
          <a:bodyPr anchor="t">
            <a:noAutofit/>
          </a:bodyPr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AE1351B-7F17-0D5A-0966-C212A82B2429}"/>
              </a:ext>
            </a:extLst>
          </p:cNvPr>
          <p:cNvSpPr>
            <a:spLocks noGrp="1"/>
          </p:cNvSpPr>
          <p:nvPr>
            <p:ph type="body" sz="half" idx="11"/>
          </p:nvPr>
        </p:nvSpPr>
        <p:spPr>
          <a:xfrm>
            <a:off x="1152355" y="1683838"/>
            <a:ext cx="3091654" cy="345112"/>
          </a:xfrm>
        </p:spPr>
        <p:txBody>
          <a:bodyPr numCol="1">
            <a:noAutofit/>
          </a:bodyPr>
          <a:lstStyle>
            <a:lvl1pPr marL="0" indent="0">
              <a:buNone/>
              <a:defRPr sz="2400" b="0" i="0">
                <a:latin typeface="Helvetica" pitchFamily="2" charset="0"/>
                <a:ea typeface="Bagoss Standard" panose="020B0504060102020204" pitchFamily="34" charset="77"/>
                <a:cs typeface="Bagoss Standard" panose="020B0504060102020204" pitchFamily="34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19">
            <a:extLst>
              <a:ext uri="{FF2B5EF4-FFF2-40B4-BE49-F238E27FC236}">
                <a16:creationId xmlns:a16="http://schemas.microsoft.com/office/drawing/2014/main" id="{DF55638F-C8B8-EEAA-859E-CBF62C55AE1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152355" y="2118033"/>
            <a:ext cx="3091654" cy="404190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/>
            </a:lvl1pPr>
            <a:lvl2pPr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2655BE-F458-1F78-8C79-E0F50B611668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4550173" y="1683838"/>
            <a:ext cx="3091654" cy="345112"/>
          </a:xfrm>
        </p:spPr>
        <p:txBody>
          <a:bodyPr numCol="1">
            <a:noAutofit/>
          </a:bodyPr>
          <a:lstStyle>
            <a:lvl1pPr marL="0" indent="0">
              <a:buNone/>
              <a:defRPr sz="2400" b="0" i="0">
                <a:latin typeface="Helvetica" pitchFamily="2" charset="0"/>
                <a:ea typeface="Bagoss Standard" panose="020B0504060102020204" pitchFamily="34" charset="77"/>
                <a:cs typeface="Bagoss Standard" panose="020B0504060102020204" pitchFamily="34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Content Placeholder 19">
            <a:extLst>
              <a:ext uri="{FF2B5EF4-FFF2-40B4-BE49-F238E27FC236}">
                <a16:creationId xmlns:a16="http://schemas.microsoft.com/office/drawing/2014/main" id="{EDE57099-42D9-AF2D-5217-DDD79C4329B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550173" y="2118033"/>
            <a:ext cx="3091654" cy="404190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/>
            </a:lvl1pPr>
            <a:lvl2pPr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19">
            <a:extLst>
              <a:ext uri="{FF2B5EF4-FFF2-40B4-BE49-F238E27FC236}">
                <a16:creationId xmlns:a16="http://schemas.microsoft.com/office/drawing/2014/main" id="{9EA63816-7AE1-AE80-D02F-C2934653FCC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949356" y="2118033"/>
            <a:ext cx="3091654" cy="404190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/>
            </a:lvl1pPr>
            <a:lvl2pPr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DC5B2C29-42B8-66D6-3F1B-9E5444CE5E25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7949355" y="1683838"/>
            <a:ext cx="3091654" cy="345112"/>
          </a:xfrm>
        </p:spPr>
        <p:txBody>
          <a:bodyPr numCol="1">
            <a:noAutofit/>
          </a:bodyPr>
          <a:lstStyle>
            <a:lvl1pPr marL="0" indent="0">
              <a:buNone/>
              <a:defRPr sz="2400" b="0" i="0">
                <a:latin typeface="Helvetica" pitchFamily="2" charset="0"/>
                <a:ea typeface="Bagoss Standard" panose="020B0504060102020204" pitchFamily="34" charset="77"/>
                <a:cs typeface="Bagoss Standard" panose="020B0504060102020204" pitchFamily="34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38552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ontent-Pattern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>
            <a:extLst>
              <a:ext uri="{FF2B5EF4-FFF2-40B4-BE49-F238E27FC236}">
                <a16:creationId xmlns:a16="http://schemas.microsoft.com/office/drawing/2014/main" id="{6CB497DC-2CF5-6F2F-C37F-6A037294C334}"/>
              </a:ext>
            </a:extLst>
          </p:cNvPr>
          <p:cNvSpPr/>
          <p:nvPr userDrawn="1"/>
        </p:nvSpPr>
        <p:spPr>
          <a:xfrm>
            <a:off x="255079" y="5639998"/>
            <a:ext cx="790892" cy="962541"/>
          </a:xfrm>
          <a:custGeom>
            <a:avLst/>
            <a:gdLst>
              <a:gd name="connsiteX0" fmla="*/ 676275 w 790892"/>
              <a:gd name="connsiteY0" fmla="*/ 962478 h 962541"/>
              <a:gd name="connsiteX1" fmla="*/ 24892 w 790892"/>
              <a:gd name="connsiteY1" fmla="*/ 962478 h 962541"/>
              <a:gd name="connsiteX2" fmla="*/ 445 w 790892"/>
              <a:gd name="connsiteY2" fmla="*/ 938030 h 962541"/>
              <a:gd name="connsiteX3" fmla="*/ 127 w 790892"/>
              <a:gd name="connsiteY3" fmla="*/ 366593 h 962541"/>
              <a:gd name="connsiteX4" fmla="*/ 0 w 790892"/>
              <a:gd name="connsiteY4" fmla="*/ 304744 h 962541"/>
              <a:gd name="connsiteX5" fmla="*/ 0 w 790892"/>
              <a:gd name="connsiteY5" fmla="*/ 262390 h 962541"/>
              <a:gd name="connsiteX6" fmla="*/ 11621 w 790892"/>
              <a:gd name="connsiteY6" fmla="*/ 242261 h 962541"/>
              <a:gd name="connsiteX7" fmla="*/ 388557 w 790892"/>
              <a:gd name="connsiteY7" fmla="*/ 2421 h 962541"/>
              <a:gd name="connsiteX8" fmla="*/ 405448 w 790892"/>
              <a:gd name="connsiteY8" fmla="*/ 2485 h 962541"/>
              <a:gd name="connsiteX9" fmla="*/ 779780 w 790892"/>
              <a:gd name="connsiteY9" fmla="*/ 242578 h 962541"/>
              <a:gd name="connsiteX10" fmla="*/ 790766 w 790892"/>
              <a:gd name="connsiteY10" fmla="*/ 261311 h 962541"/>
              <a:gd name="connsiteX11" fmla="*/ 790766 w 790892"/>
              <a:gd name="connsiteY11" fmla="*/ 295092 h 962541"/>
              <a:gd name="connsiteX12" fmla="*/ 790893 w 790892"/>
              <a:gd name="connsiteY12" fmla="*/ 364435 h 962541"/>
              <a:gd name="connsiteX13" fmla="*/ 790893 w 790892"/>
              <a:gd name="connsiteY13" fmla="*/ 938157 h 962541"/>
              <a:gd name="connsiteX14" fmla="*/ 766509 w 790892"/>
              <a:gd name="connsiteY14" fmla="*/ 962541 h 962541"/>
              <a:gd name="connsiteX15" fmla="*/ 676212 w 790892"/>
              <a:gd name="connsiteY15" fmla="*/ 962541 h 96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90892" h="962541">
                <a:moveTo>
                  <a:pt x="676275" y="962478"/>
                </a:moveTo>
                <a:lnTo>
                  <a:pt x="24892" y="962478"/>
                </a:lnTo>
                <a:cubicBezTo>
                  <a:pt x="11494" y="962478"/>
                  <a:pt x="445" y="951429"/>
                  <a:pt x="445" y="938030"/>
                </a:cubicBezTo>
                <a:cubicBezTo>
                  <a:pt x="127" y="673806"/>
                  <a:pt x="127" y="624277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8"/>
                  <a:pt x="4699" y="246642"/>
                  <a:pt x="11621" y="242261"/>
                </a:cubicBezTo>
                <a:cubicBezTo>
                  <a:pt x="64262" y="208732"/>
                  <a:pt x="288036" y="66048"/>
                  <a:pt x="388557" y="2421"/>
                </a:cubicBezTo>
                <a:cubicBezTo>
                  <a:pt x="393700" y="-818"/>
                  <a:pt x="400304" y="-818"/>
                  <a:pt x="405448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2"/>
                </a:lnTo>
                <a:cubicBezTo>
                  <a:pt x="790766" y="295092"/>
                  <a:pt x="790893" y="364435"/>
                  <a:pt x="790893" y="364435"/>
                </a:cubicBezTo>
                <a:lnTo>
                  <a:pt x="790893" y="938157"/>
                </a:lnTo>
                <a:cubicBezTo>
                  <a:pt x="790893" y="951619"/>
                  <a:pt x="779971" y="962541"/>
                  <a:pt x="766509" y="962541"/>
                </a:cubicBezTo>
                <a:lnTo>
                  <a:pt x="676212" y="962541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7A2F55F1-946A-086B-68C3-1E1F3F1D21BD}"/>
              </a:ext>
            </a:extLst>
          </p:cNvPr>
          <p:cNvSpPr/>
          <p:nvPr userDrawn="1"/>
        </p:nvSpPr>
        <p:spPr>
          <a:xfrm>
            <a:off x="2070290" y="5639998"/>
            <a:ext cx="790892" cy="962541"/>
          </a:xfrm>
          <a:custGeom>
            <a:avLst/>
            <a:gdLst>
              <a:gd name="connsiteX0" fmla="*/ 676211 w 790892"/>
              <a:gd name="connsiteY0" fmla="*/ 962478 h 962541"/>
              <a:gd name="connsiteX1" fmla="*/ 24892 w 790892"/>
              <a:gd name="connsiteY1" fmla="*/ 962478 h 962541"/>
              <a:gd name="connsiteX2" fmla="*/ 445 w 790892"/>
              <a:gd name="connsiteY2" fmla="*/ 938030 h 962541"/>
              <a:gd name="connsiteX3" fmla="*/ 127 w 790892"/>
              <a:gd name="connsiteY3" fmla="*/ 366593 h 962541"/>
              <a:gd name="connsiteX4" fmla="*/ 0 w 790892"/>
              <a:gd name="connsiteY4" fmla="*/ 304744 h 962541"/>
              <a:gd name="connsiteX5" fmla="*/ 0 w 790892"/>
              <a:gd name="connsiteY5" fmla="*/ 262390 h 962541"/>
              <a:gd name="connsiteX6" fmla="*/ 11620 w 790892"/>
              <a:gd name="connsiteY6" fmla="*/ 242261 h 962541"/>
              <a:gd name="connsiteX7" fmla="*/ 388557 w 790892"/>
              <a:gd name="connsiteY7" fmla="*/ 2421 h 962541"/>
              <a:gd name="connsiteX8" fmla="*/ 405448 w 790892"/>
              <a:gd name="connsiteY8" fmla="*/ 2485 h 962541"/>
              <a:gd name="connsiteX9" fmla="*/ 779780 w 790892"/>
              <a:gd name="connsiteY9" fmla="*/ 242578 h 962541"/>
              <a:gd name="connsiteX10" fmla="*/ 790766 w 790892"/>
              <a:gd name="connsiteY10" fmla="*/ 261311 h 962541"/>
              <a:gd name="connsiteX11" fmla="*/ 790766 w 790892"/>
              <a:gd name="connsiteY11" fmla="*/ 295092 h 962541"/>
              <a:gd name="connsiteX12" fmla="*/ 790892 w 790892"/>
              <a:gd name="connsiteY12" fmla="*/ 364435 h 962541"/>
              <a:gd name="connsiteX13" fmla="*/ 790892 w 790892"/>
              <a:gd name="connsiteY13" fmla="*/ 938157 h 962541"/>
              <a:gd name="connsiteX14" fmla="*/ 766508 w 790892"/>
              <a:gd name="connsiteY14" fmla="*/ 962541 h 962541"/>
              <a:gd name="connsiteX15" fmla="*/ 676211 w 790892"/>
              <a:gd name="connsiteY15" fmla="*/ 962541 h 96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90892" h="962541">
                <a:moveTo>
                  <a:pt x="676211" y="962478"/>
                </a:moveTo>
                <a:lnTo>
                  <a:pt x="24892" y="962478"/>
                </a:lnTo>
                <a:cubicBezTo>
                  <a:pt x="11493" y="962478"/>
                  <a:pt x="445" y="951429"/>
                  <a:pt x="445" y="938030"/>
                </a:cubicBezTo>
                <a:cubicBezTo>
                  <a:pt x="127" y="673806"/>
                  <a:pt x="127" y="624277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8"/>
                  <a:pt x="4699" y="246642"/>
                  <a:pt x="11620" y="242261"/>
                </a:cubicBezTo>
                <a:cubicBezTo>
                  <a:pt x="64262" y="208732"/>
                  <a:pt x="288036" y="66048"/>
                  <a:pt x="388557" y="2421"/>
                </a:cubicBezTo>
                <a:cubicBezTo>
                  <a:pt x="393700" y="-818"/>
                  <a:pt x="400304" y="-818"/>
                  <a:pt x="405448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2"/>
                </a:lnTo>
                <a:cubicBezTo>
                  <a:pt x="790766" y="295092"/>
                  <a:pt x="790892" y="364435"/>
                  <a:pt x="790892" y="364435"/>
                </a:cubicBezTo>
                <a:lnTo>
                  <a:pt x="790892" y="938157"/>
                </a:lnTo>
                <a:cubicBezTo>
                  <a:pt x="790892" y="951619"/>
                  <a:pt x="779970" y="962541"/>
                  <a:pt x="766508" y="962541"/>
                </a:cubicBezTo>
                <a:lnTo>
                  <a:pt x="676211" y="962541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0EB57E5C-1731-79AC-D19F-473AFDBD8A42}"/>
              </a:ext>
            </a:extLst>
          </p:cNvPr>
          <p:cNvSpPr/>
          <p:nvPr userDrawn="1"/>
        </p:nvSpPr>
        <p:spPr>
          <a:xfrm>
            <a:off x="3885438" y="5639998"/>
            <a:ext cx="790892" cy="962541"/>
          </a:xfrm>
          <a:custGeom>
            <a:avLst/>
            <a:gdLst>
              <a:gd name="connsiteX0" fmla="*/ 676211 w 790892"/>
              <a:gd name="connsiteY0" fmla="*/ 962478 h 962541"/>
              <a:gd name="connsiteX1" fmla="*/ 24892 w 790892"/>
              <a:gd name="connsiteY1" fmla="*/ 962478 h 962541"/>
              <a:gd name="connsiteX2" fmla="*/ 445 w 790892"/>
              <a:gd name="connsiteY2" fmla="*/ 938030 h 962541"/>
              <a:gd name="connsiteX3" fmla="*/ 127 w 790892"/>
              <a:gd name="connsiteY3" fmla="*/ 366593 h 962541"/>
              <a:gd name="connsiteX4" fmla="*/ 0 w 790892"/>
              <a:gd name="connsiteY4" fmla="*/ 304744 h 962541"/>
              <a:gd name="connsiteX5" fmla="*/ 0 w 790892"/>
              <a:gd name="connsiteY5" fmla="*/ 262390 h 962541"/>
              <a:gd name="connsiteX6" fmla="*/ 11621 w 790892"/>
              <a:gd name="connsiteY6" fmla="*/ 242261 h 962541"/>
              <a:gd name="connsiteX7" fmla="*/ 388557 w 790892"/>
              <a:gd name="connsiteY7" fmla="*/ 2421 h 962541"/>
              <a:gd name="connsiteX8" fmla="*/ 405447 w 790892"/>
              <a:gd name="connsiteY8" fmla="*/ 2485 h 962541"/>
              <a:gd name="connsiteX9" fmla="*/ 779780 w 790892"/>
              <a:gd name="connsiteY9" fmla="*/ 242578 h 962541"/>
              <a:gd name="connsiteX10" fmla="*/ 790765 w 790892"/>
              <a:gd name="connsiteY10" fmla="*/ 261311 h 962541"/>
              <a:gd name="connsiteX11" fmla="*/ 790765 w 790892"/>
              <a:gd name="connsiteY11" fmla="*/ 295092 h 962541"/>
              <a:gd name="connsiteX12" fmla="*/ 790892 w 790892"/>
              <a:gd name="connsiteY12" fmla="*/ 364435 h 962541"/>
              <a:gd name="connsiteX13" fmla="*/ 790892 w 790892"/>
              <a:gd name="connsiteY13" fmla="*/ 938157 h 962541"/>
              <a:gd name="connsiteX14" fmla="*/ 766509 w 790892"/>
              <a:gd name="connsiteY14" fmla="*/ 962541 h 962541"/>
              <a:gd name="connsiteX15" fmla="*/ 676211 w 790892"/>
              <a:gd name="connsiteY15" fmla="*/ 962541 h 96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90892" h="962541">
                <a:moveTo>
                  <a:pt x="676211" y="962478"/>
                </a:moveTo>
                <a:lnTo>
                  <a:pt x="24892" y="962478"/>
                </a:lnTo>
                <a:cubicBezTo>
                  <a:pt x="11493" y="962478"/>
                  <a:pt x="445" y="951429"/>
                  <a:pt x="445" y="938030"/>
                </a:cubicBezTo>
                <a:cubicBezTo>
                  <a:pt x="127" y="673806"/>
                  <a:pt x="127" y="624277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8"/>
                  <a:pt x="4699" y="246642"/>
                  <a:pt x="11621" y="242261"/>
                </a:cubicBezTo>
                <a:cubicBezTo>
                  <a:pt x="64262" y="208732"/>
                  <a:pt x="288036" y="66048"/>
                  <a:pt x="388557" y="2421"/>
                </a:cubicBezTo>
                <a:cubicBezTo>
                  <a:pt x="393700" y="-818"/>
                  <a:pt x="400304" y="-818"/>
                  <a:pt x="405447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5" y="261311"/>
                </a:cubicBezTo>
                <a:lnTo>
                  <a:pt x="790765" y="295092"/>
                </a:lnTo>
                <a:cubicBezTo>
                  <a:pt x="790765" y="295092"/>
                  <a:pt x="790892" y="364435"/>
                  <a:pt x="790892" y="364435"/>
                </a:cubicBezTo>
                <a:lnTo>
                  <a:pt x="790892" y="938157"/>
                </a:lnTo>
                <a:cubicBezTo>
                  <a:pt x="790892" y="951619"/>
                  <a:pt x="779971" y="962541"/>
                  <a:pt x="766509" y="962541"/>
                </a:cubicBezTo>
                <a:lnTo>
                  <a:pt x="676211" y="962541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36FFDCF9-5CD2-A892-3843-BC846F544CAC}"/>
              </a:ext>
            </a:extLst>
          </p:cNvPr>
          <p:cNvSpPr/>
          <p:nvPr userDrawn="1"/>
        </p:nvSpPr>
        <p:spPr>
          <a:xfrm>
            <a:off x="5700585" y="5639998"/>
            <a:ext cx="790892" cy="962541"/>
          </a:xfrm>
          <a:custGeom>
            <a:avLst/>
            <a:gdLst>
              <a:gd name="connsiteX0" fmla="*/ 676211 w 790892"/>
              <a:gd name="connsiteY0" fmla="*/ 962478 h 962541"/>
              <a:gd name="connsiteX1" fmla="*/ 24892 w 790892"/>
              <a:gd name="connsiteY1" fmla="*/ 962478 h 962541"/>
              <a:gd name="connsiteX2" fmla="*/ 445 w 790892"/>
              <a:gd name="connsiteY2" fmla="*/ 938030 h 962541"/>
              <a:gd name="connsiteX3" fmla="*/ 127 w 790892"/>
              <a:gd name="connsiteY3" fmla="*/ 366593 h 962541"/>
              <a:gd name="connsiteX4" fmla="*/ 0 w 790892"/>
              <a:gd name="connsiteY4" fmla="*/ 304744 h 962541"/>
              <a:gd name="connsiteX5" fmla="*/ 0 w 790892"/>
              <a:gd name="connsiteY5" fmla="*/ 262390 h 962541"/>
              <a:gd name="connsiteX6" fmla="*/ 11621 w 790892"/>
              <a:gd name="connsiteY6" fmla="*/ 242261 h 962541"/>
              <a:gd name="connsiteX7" fmla="*/ 388557 w 790892"/>
              <a:gd name="connsiteY7" fmla="*/ 2421 h 962541"/>
              <a:gd name="connsiteX8" fmla="*/ 405448 w 790892"/>
              <a:gd name="connsiteY8" fmla="*/ 2485 h 962541"/>
              <a:gd name="connsiteX9" fmla="*/ 779780 w 790892"/>
              <a:gd name="connsiteY9" fmla="*/ 242578 h 962541"/>
              <a:gd name="connsiteX10" fmla="*/ 790766 w 790892"/>
              <a:gd name="connsiteY10" fmla="*/ 261311 h 962541"/>
              <a:gd name="connsiteX11" fmla="*/ 790766 w 790892"/>
              <a:gd name="connsiteY11" fmla="*/ 295092 h 962541"/>
              <a:gd name="connsiteX12" fmla="*/ 790893 w 790892"/>
              <a:gd name="connsiteY12" fmla="*/ 364435 h 962541"/>
              <a:gd name="connsiteX13" fmla="*/ 790893 w 790892"/>
              <a:gd name="connsiteY13" fmla="*/ 938157 h 962541"/>
              <a:gd name="connsiteX14" fmla="*/ 766509 w 790892"/>
              <a:gd name="connsiteY14" fmla="*/ 962541 h 962541"/>
              <a:gd name="connsiteX15" fmla="*/ 676211 w 790892"/>
              <a:gd name="connsiteY15" fmla="*/ 962541 h 96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90892" h="962541">
                <a:moveTo>
                  <a:pt x="676211" y="962478"/>
                </a:moveTo>
                <a:lnTo>
                  <a:pt x="24892" y="962478"/>
                </a:lnTo>
                <a:cubicBezTo>
                  <a:pt x="11493" y="962478"/>
                  <a:pt x="445" y="951429"/>
                  <a:pt x="445" y="938030"/>
                </a:cubicBezTo>
                <a:cubicBezTo>
                  <a:pt x="127" y="673806"/>
                  <a:pt x="127" y="624277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8"/>
                  <a:pt x="4699" y="246642"/>
                  <a:pt x="11621" y="242261"/>
                </a:cubicBezTo>
                <a:cubicBezTo>
                  <a:pt x="64262" y="208732"/>
                  <a:pt x="288036" y="66048"/>
                  <a:pt x="388557" y="2421"/>
                </a:cubicBezTo>
                <a:cubicBezTo>
                  <a:pt x="393700" y="-818"/>
                  <a:pt x="400304" y="-818"/>
                  <a:pt x="405448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2"/>
                </a:lnTo>
                <a:cubicBezTo>
                  <a:pt x="790766" y="295092"/>
                  <a:pt x="790893" y="364435"/>
                  <a:pt x="790893" y="364435"/>
                </a:cubicBezTo>
                <a:lnTo>
                  <a:pt x="790893" y="938157"/>
                </a:lnTo>
                <a:cubicBezTo>
                  <a:pt x="790893" y="951619"/>
                  <a:pt x="779971" y="962541"/>
                  <a:pt x="766509" y="962541"/>
                </a:cubicBezTo>
                <a:lnTo>
                  <a:pt x="676211" y="962541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54714896-F620-0E4A-457A-911403630D17}"/>
              </a:ext>
            </a:extLst>
          </p:cNvPr>
          <p:cNvSpPr/>
          <p:nvPr userDrawn="1"/>
        </p:nvSpPr>
        <p:spPr>
          <a:xfrm>
            <a:off x="1162685" y="5161335"/>
            <a:ext cx="790892" cy="956907"/>
          </a:xfrm>
          <a:custGeom>
            <a:avLst/>
            <a:gdLst>
              <a:gd name="connsiteX0" fmla="*/ 19304 w 790892"/>
              <a:gd name="connsiteY0" fmla="*/ 956128 h 956907"/>
              <a:gd name="connsiteX1" fmla="*/ 444 w 790892"/>
              <a:gd name="connsiteY1" fmla="*/ 942602 h 956907"/>
              <a:gd name="connsiteX2" fmla="*/ 127 w 790892"/>
              <a:gd name="connsiteY2" fmla="*/ 366593 h 956907"/>
              <a:gd name="connsiteX3" fmla="*/ 0 w 790892"/>
              <a:gd name="connsiteY3" fmla="*/ 304744 h 956907"/>
              <a:gd name="connsiteX4" fmla="*/ 0 w 790892"/>
              <a:gd name="connsiteY4" fmla="*/ 262390 h 956907"/>
              <a:gd name="connsiteX5" fmla="*/ 11620 w 790892"/>
              <a:gd name="connsiteY5" fmla="*/ 242261 h 956907"/>
              <a:gd name="connsiteX6" fmla="*/ 388556 w 790892"/>
              <a:gd name="connsiteY6" fmla="*/ 2421 h 956907"/>
              <a:gd name="connsiteX7" fmla="*/ 405447 w 790892"/>
              <a:gd name="connsiteY7" fmla="*/ 2485 h 956907"/>
              <a:gd name="connsiteX8" fmla="*/ 779780 w 790892"/>
              <a:gd name="connsiteY8" fmla="*/ 242578 h 956907"/>
              <a:gd name="connsiteX9" fmla="*/ 790766 w 790892"/>
              <a:gd name="connsiteY9" fmla="*/ 261311 h 956907"/>
              <a:gd name="connsiteX10" fmla="*/ 790766 w 790892"/>
              <a:gd name="connsiteY10" fmla="*/ 295093 h 956907"/>
              <a:gd name="connsiteX11" fmla="*/ 790892 w 790892"/>
              <a:gd name="connsiteY11" fmla="*/ 364435 h 956907"/>
              <a:gd name="connsiteX12" fmla="*/ 790892 w 790892"/>
              <a:gd name="connsiteY12" fmla="*/ 942602 h 956907"/>
              <a:gd name="connsiteX13" fmla="*/ 772097 w 790892"/>
              <a:gd name="connsiteY13" fmla="*/ 956064 h 956907"/>
              <a:gd name="connsiteX14" fmla="*/ 405320 w 790892"/>
              <a:gd name="connsiteY14" fmla="*/ 830715 h 956907"/>
              <a:gd name="connsiteX15" fmla="*/ 386334 w 790892"/>
              <a:gd name="connsiteY15" fmla="*/ 830715 h 956907"/>
              <a:gd name="connsiteX16" fmla="*/ 19367 w 790892"/>
              <a:gd name="connsiteY16" fmla="*/ 956000 h 956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90892" h="956907">
                <a:moveTo>
                  <a:pt x="19304" y="956128"/>
                </a:moveTo>
                <a:cubicBezTo>
                  <a:pt x="10096" y="959303"/>
                  <a:pt x="508" y="952381"/>
                  <a:pt x="444" y="942602"/>
                </a:cubicBezTo>
                <a:cubicBezTo>
                  <a:pt x="127" y="674378"/>
                  <a:pt x="127" y="625800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9"/>
                  <a:pt x="4699" y="246642"/>
                  <a:pt x="11620" y="242261"/>
                </a:cubicBezTo>
                <a:cubicBezTo>
                  <a:pt x="64262" y="208732"/>
                  <a:pt x="288036" y="66048"/>
                  <a:pt x="388556" y="2421"/>
                </a:cubicBezTo>
                <a:cubicBezTo>
                  <a:pt x="393700" y="-818"/>
                  <a:pt x="400304" y="-818"/>
                  <a:pt x="405447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3"/>
                </a:lnTo>
                <a:cubicBezTo>
                  <a:pt x="790766" y="295093"/>
                  <a:pt x="790892" y="364435"/>
                  <a:pt x="790892" y="364435"/>
                </a:cubicBezTo>
                <a:lnTo>
                  <a:pt x="790892" y="942602"/>
                </a:lnTo>
                <a:cubicBezTo>
                  <a:pt x="790892" y="952381"/>
                  <a:pt x="781304" y="959239"/>
                  <a:pt x="772097" y="956064"/>
                </a:cubicBezTo>
                <a:lnTo>
                  <a:pt x="405320" y="830715"/>
                </a:lnTo>
                <a:cubicBezTo>
                  <a:pt x="399161" y="828619"/>
                  <a:pt x="392494" y="828619"/>
                  <a:pt x="386334" y="830715"/>
                </a:cubicBezTo>
                <a:lnTo>
                  <a:pt x="19367" y="95600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73B32A79-33EA-0795-3110-F0FE34D56A0B}"/>
              </a:ext>
            </a:extLst>
          </p:cNvPr>
          <p:cNvSpPr/>
          <p:nvPr userDrawn="1"/>
        </p:nvSpPr>
        <p:spPr>
          <a:xfrm>
            <a:off x="1162621" y="6118383"/>
            <a:ext cx="790955" cy="484219"/>
          </a:xfrm>
          <a:custGeom>
            <a:avLst/>
            <a:gdLst>
              <a:gd name="connsiteX0" fmla="*/ 190 w 790955"/>
              <a:gd name="connsiteY0" fmla="*/ 366554 h 484219"/>
              <a:gd name="connsiteX1" fmla="*/ 190 w 790955"/>
              <a:gd name="connsiteY1" fmla="*/ 459835 h 484219"/>
              <a:gd name="connsiteX2" fmla="*/ 24575 w 790955"/>
              <a:gd name="connsiteY2" fmla="*/ 484220 h 484219"/>
              <a:gd name="connsiteX3" fmla="*/ 766572 w 790955"/>
              <a:gd name="connsiteY3" fmla="*/ 484220 h 484219"/>
              <a:gd name="connsiteX4" fmla="*/ 790956 w 790955"/>
              <a:gd name="connsiteY4" fmla="*/ 459835 h 484219"/>
              <a:gd name="connsiteX5" fmla="*/ 790956 w 790955"/>
              <a:gd name="connsiteY5" fmla="*/ 364458 h 484219"/>
              <a:gd name="connsiteX6" fmla="*/ 790829 w 790955"/>
              <a:gd name="connsiteY6" fmla="*/ 295116 h 484219"/>
              <a:gd name="connsiteX7" fmla="*/ 790829 w 790955"/>
              <a:gd name="connsiteY7" fmla="*/ 261334 h 484219"/>
              <a:gd name="connsiteX8" fmla="*/ 779780 w 790955"/>
              <a:gd name="connsiteY8" fmla="*/ 242602 h 484219"/>
              <a:gd name="connsiteX9" fmla="*/ 405448 w 790955"/>
              <a:gd name="connsiteY9" fmla="*/ 2508 h 484219"/>
              <a:gd name="connsiteX10" fmla="*/ 388557 w 790955"/>
              <a:gd name="connsiteY10" fmla="*/ 2445 h 484219"/>
              <a:gd name="connsiteX11" fmla="*/ 11621 w 790955"/>
              <a:gd name="connsiteY11" fmla="*/ 242284 h 484219"/>
              <a:gd name="connsiteX12" fmla="*/ 0 w 790955"/>
              <a:gd name="connsiteY12" fmla="*/ 262477 h 484219"/>
              <a:gd name="connsiteX13" fmla="*/ 0 w 790955"/>
              <a:gd name="connsiteY13" fmla="*/ 304832 h 484219"/>
              <a:gd name="connsiteX14" fmla="*/ 127 w 790955"/>
              <a:gd name="connsiteY14" fmla="*/ 366681 h 48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90955" h="484219">
                <a:moveTo>
                  <a:pt x="190" y="366554"/>
                </a:moveTo>
                <a:cubicBezTo>
                  <a:pt x="190" y="401098"/>
                  <a:pt x="190" y="431769"/>
                  <a:pt x="190" y="459835"/>
                </a:cubicBezTo>
                <a:cubicBezTo>
                  <a:pt x="190" y="473298"/>
                  <a:pt x="11113" y="484220"/>
                  <a:pt x="24575" y="484220"/>
                </a:cubicBezTo>
                <a:lnTo>
                  <a:pt x="766572" y="484220"/>
                </a:lnTo>
                <a:cubicBezTo>
                  <a:pt x="780034" y="484220"/>
                  <a:pt x="790956" y="473298"/>
                  <a:pt x="790956" y="459835"/>
                </a:cubicBezTo>
                <a:lnTo>
                  <a:pt x="790956" y="364458"/>
                </a:lnTo>
                <a:lnTo>
                  <a:pt x="790829" y="295116"/>
                </a:lnTo>
                <a:lnTo>
                  <a:pt x="790829" y="261334"/>
                </a:lnTo>
                <a:cubicBezTo>
                  <a:pt x="790194" y="253714"/>
                  <a:pt x="786257" y="246729"/>
                  <a:pt x="779780" y="242602"/>
                </a:cubicBezTo>
                <a:lnTo>
                  <a:pt x="405448" y="2508"/>
                </a:lnTo>
                <a:cubicBezTo>
                  <a:pt x="400304" y="-793"/>
                  <a:pt x="393764" y="-857"/>
                  <a:pt x="388557" y="2445"/>
                </a:cubicBezTo>
                <a:cubicBezTo>
                  <a:pt x="287973" y="66072"/>
                  <a:pt x="64262" y="208757"/>
                  <a:pt x="11621" y="242284"/>
                </a:cubicBezTo>
                <a:cubicBezTo>
                  <a:pt x="4699" y="246666"/>
                  <a:pt x="127" y="254286"/>
                  <a:pt x="0" y="262477"/>
                </a:cubicBezTo>
                <a:lnTo>
                  <a:pt x="0" y="304832"/>
                </a:lnTo>
                <a:cubicBezTo>
                  <a:pt x="0" y="304832"/>
                  <a:pt x="127" y="366681"/>
                  <a:pt x="127" y="366681"/>
                </a:cubicBez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E7BE0D48-E8C3-B0ED-2A0D-152F8BB5FE16}"/>
              </a:ext>
            </a:extLst>
          </p:cNvPr>
          <p:cNvSpPr/>
          <p:nvPr userDrawn="1"/>
        </p:nvSpPr>
        <p:spPr>
          <a:xfrm>
            <a:off x="2977832" y="5161335"/>
            <a:ext cx="790892" cy="956907"/>
          </a:xfrm>
          <a:custGeom>
            <a:avLst/>
            <a:gdLst>
              <a:gd name="connsiteX0" fmla="*/ 19304 w 790892"/>
              <a:gd name="connsiteY0" fmla="*/ 956128 h 956907"/>
              <a:gd name="connsiteX1" fmla="*/ 444 w 790892"/>
              <a:gd name="connsiteY1" fmla="*/ 942602 h 956907"/>
              <a:gd name="connsiteX2" fmla="*/ 127 w 790892"/>
              <a:gd name="connsiteY2" fmla="*/ 366593 h 956907"/>
              <a:gd name="connsiteX3" fmla="*/ 0 w 790892"/>
              <a:gd name="connsiteY3" fmla="*/ 304744 h 956907"/>
              <a:gd name="connsiteX4" fmla="*/ 0 w 790892"/>
              <a:gd name="connsiteY4" fmla="*/ 262390 h 956907"/>
              <a:gd name="connsiteX5" fmla="*/ 11620 w 790892"/>
              <a:gd name="connsiteY5" fmla="*/ 242261 h 956907"/>
              <a:gd name="connsiteX6" fmla="*/ 388557 w 790892"/>
              <a:gd name="connsiteY6" fmla="*/ 2421 h 956907"/>
              <a:gd name="connsiteX7" fmla="*/ 405447 w 790892"/>
              <a:gd name="connsiteY7" fmla="*/ 2485 h 956907"/>
              <a:gd name="connsiteX8" fmla="*/ 779780 w 790892"/>
              <a:gd name="connsiteY8" fmla="*/ 242578 h 956907"/>
              <a:gd name="connsiteX9" fmla="*/ 790765 w 790892"/>
              <a:gd name="connsiteY9" fmla="*/ 261311 h 956907"/>
              <a:gd name="connsiteX10" fmla="*/ 790765 w 790892"/>
              <a:gd name="connsiteY10" fmla="*/ 295093 h 956907"/>
              <a:gd name="connsiteX11" fmla="*/ 790892 w 790892"/>
              <a:gd name="connsiteY11" fmla="*/ 364435 h 956907"/>
              <a:gd name="connsiteX12" fmla="*/ 790892 w 790892"/>
              <a:gd name="connsiteY12" fmla="*/ 942602 h 956907"/>
              <a:gd name="connsiteX13" fmla="*/ 772096 w 790892"/>
              <a:gd name="connsiteY13" fmla="*/ 956064 h 956907"/>
              <a:gd name="connsiteX14" fmla="*/ 405321 w 790892"/>
              <a:gd name="connsiteY14" fmla="*/ 830715 h 956907"/>
              <a:gd name="connsiteX15" fmla="*/ 386334 w 790892"/>
              <a:gd name="connsiteY15" fmla="*/ 830715 h 956907"/>
              <a:gd name="connsiteX16" fmla="*/ 19367 w 790892"/>
              <a:gd name="connsiteY16" fmla="*/ 956000 h 956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90892" h="956907">
                <a:moveTo>
                  <a:pt x="19304" y="956128"/>
                </a:moveTo>
                <a:cubicBezTo>
                  <a:pt x="10096" y="959303"/>
                  <a:pt x="508" y="952381"/>
                  <a:pt x="444" y="942602"/>
                </a:cubicBezTo>
                <a:cubicBezTo>
                  <a:pt x="127" y="674378"/>
                  <a:pt x="127" y="625800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9"/>
                  <a:pt x="4699" y="246642"/>
                  <a:pt x="11620" y="242261"/>
                </a:cubicBezTo>
                <a:cubicBezTo>
                  <a:pt x="64262" y="208732"/>
                  <a:pt x="288036" y="66048"/>
                  <a:pt x="388557" y="2421"/>
                </a:cubicBezTo>
                <a:cubicBezTo>
                  <a:pt x="393700" y="-818"/>
                  <a:pt x="400304" y="-818"/>
                  <a:pt x="405447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5" y="261311"/>
                </a:cubicBezTo>
                <a:lnTo>
                  <a:pt x="790765" y="295093"/>
                </a:lnTo>
                <a:cubicBezTo>
                  <a:pt x="790765" y="295093"/>
                  <a:pt x="790892" y="364435"/>
                  <a:pt x="790892" y="364435"/>
                </a:cubicBezTo>
                <a:lnTo>
                  <a:pt x="790892" y="942602"/>
                </a:lnTo>
                <a:cubicBezTo>
                  <a:pt x="790892" y="952381"/>
                  <a:pt x="781304" y="959239"/>
                  <a:pt x="772096" y="956064"/>
                </a:cubicBezTo>
                <a:lnTo>
                  <a:pt x="405321" y="830715"/>
                </a:lnTo>
                <a:cubicBezTo>
                  <a:pt x="399161" y="828619"/>
                  <a:pt x="392494" y="828619"/>
                  <a:pt x="386334" y="830715"/>
                </a:cubicBezTo>
                <a:lnTo>
                  <a:pt x="19367" y="95600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3" name="Freeform 12">
            <a:extLst>
              <a:ext uri="{FF2B5EF4-FFF2-40B4-BE49-F238E27FC236}">
                <a16:creationId xmlns:a16="http://schemas.microsoft.com/office/drawing/2014/main" id="{720DB225-D956-2126-18BD-0CB3BA8877B3}"/>
              </a:ext>
            </a:extLst>
          </p:cNvPr>
          <p:cNvSpPr/>
          <p:nvPr userDrawn="1"/>
        </p:nvSpPr>
        <p:spPr>
          <a:xfrm>
            <a:off x="2977769" y="6118383"/>
            <a:ext cx="790955" cy="484219"/>
          </a:xfrm>
          <a:custGeom>
            <a:avLst/>
            <a:gdLst>
              <a:gd name="connsiteX0" fmla="*/ 190 w 790955"/>
              <a:gd name="connsiteY0" fmla="*/ 366554 h 484219"/>
              <a:gd name="connsiteX1" fmla="*/ 190 w 790955"/>
              <a:gd name="connsiteY1" fmla="*/ 459835 h 484219"/>
              <a:gd name="connsiteX2" fmla="*/ 24574 w 790955"/>
              <a:gd name="connsiteY2" fmla="*/ 484220 h 484219"/>
              <a:gd name="connsiteX3" fmla="*/ 766572 w 790955"/>
              <a:gd name="connsiteY3" fmla="*/ 484220 h 484219"/>
              <a:gd name="connsiteX4" fmla="*/ 790956 w 790955"/>
              <a:gd name="connsiteY4" fmla="*/ 459835 h 484219"/>
              <a:gd name="connsiteX5" fmla="*/ 790956 w 790955"/>
              <a:gd name="connsiteY5" fmla="*/ 364458 h 484219"/>
              <a:gd name="connsiteX6" fmla="*/ 790829 w 790955"/>
              <a:gd name="connsiteY6" fmla="*/ 295116 h 484219"/>
              <a:gd name="connsiteX7" fmla="*/ 790829 w 790955"/>
              <a:gd name="connsiteY7" fmla="*/ 261334 h 484219"/>
              <a:gd name="connsiteX8" fmla="*/ 779780 w 790955"/>
              <a:gd name="connsiteY8" fmla="*/ 242602 h 484219"/>
              <a:gd name="connsiteX9" fmla="*/ 405447 w 790955"/>
              <a:gd name="connsiteY9" fmla="*/ 2508 h 484219"/>
              <a:gd name="connsiteX10" fmla="*/ 388557 w 790955"/>
              <a:gd name="connsiteY10" fmla="*/ 2445 h 484219"/>
              <a:gd name="connsiteX11" fmla="*/ 11620 w 790955"/>
              <a:gd name="connsiteY11" fmla="*/ 242284 h 484219"/>
              <a:gd name="connsiteX12" fmla="*/ 0 w 790955"/>
              <a:gd name="connsiteY12" fmla="*/ 262477 h 484219"/>
              <a:gd name="connsiteX13" fmla="*/ 0 w 790955"/>
              <a:gd name="connsiteY13" fmla="*/ 304832 h 484219"/>
              <a:gd name="connsiteX14" fmla="*/ 127 w 790955"/>
              <a:gd name="connsiteY14" fmla="*/ 366681 h 48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90955" h="484219">
                <a:moveTo>
                  <a:pt x="190" y="366554"/>
                </a:moveTo>
                <a:cubicBezTo>
                  <a:pt x="190" y="401098"/>
                  <a:pt x="190" y="431769"/>
                  <a:pt x="190" y="459835"/>
                </a:cubicBezTo>
                <a:cubicBezTo>
                  <a:pt x="190" y="473298"/>
                  <a:pt x="11113" y="484220"/>
                  <a:pt x="24574" y="484220"/>
                </a:cubicBezTo>
                <a:lnTo>
                  <a:pt x="766572" y="484220"/>
                </a:lnTo>
                <a:cubicBezTo>
                  <a:pt x="780034" y="484220"/>
                  <a:pt x="790956" y="473298"/>
                  <a:pt x="790956" y="459835"/>
                </a:cubicBezTo>
                <a:lnTo>
                  <a:pt x="790956" y="364458"/>
                </a:lnTo>
                <a:lnTo>
                  <a:pt x="790829" y="295116"/>
                </a:lnTo>
                <a:lnTo>
                  <a:pt x="790829" y="261334"/>
                </a:lnTo>
                <a:cubicBezTo>
                  <a:pt x="790194" y="253714"/>
                  <a:pt x="786257" y="246729"/>
                  <a:pt x="779780" y="242602"/>
                </a:cubicBezTo>
                <a:lnTo>
                  <a:pt x="405447" y="2508"/>
                </a:lnTo>
                <a:cubicBezTo>
                  <a:pt x="400304" y="-793"/>
                  <a:pt x="393764" y="-857"/>
                  <a:pt x="388557" y="2445"/>
                </a:cubicBezTo>
                <a:cubicBezTo>
                  <a:pt x="287972" y="66072"/>
                  <a:pt x="64262" y="208757"/>
                  <a:pt x="11620" y="242284"/>
                </a:cubicBezTo>
                <a:cubicBezTo>
                  <a:pt x="4699" y="246666"/>
                  <a:pt x="127" y="254286"/>
                  <a:pt x="0" y="262477"/>
                </a:cubicBezTo>
                <a:lnTo>
                  <a:pt x="0" y="304832"/>
                </a:lnTo>
                <a:cubicBezTo>
                  <a:pt x="0" y="304832"/>
                  <a:pt x="127" y="366681"/>
                  <a:pt x="127" y="366681"/>
                </a:cubicBez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B6F70407-6878-9677-7C8B-DE2710F6374A}"/>
              </a:ext>
            </a:extLst>
          </p:cNvPr>
          <p:cNvSpPr/>
          <p:nvPr userDrawn="1"/>
        </p:nvSpPr>
        <p:spPr>
          <a:xfrm>
            <a:off x="4792979" y="5161335"/>
            <a:ext cx="790892" cy="956907"/>
          </a:xfrm>
          <a:custGeom>
            <a:avLst/>
            <a:gdLst>
              <a:gd name="connsiteX0" fmla="*/ 19304 w 790892"/>
              <a:gd name="connsiteY0" fmla="*/ 956128 h 956907"/>
              <a:gd name="connsiteX1" fmla="*/ 445 w 790892"/>
              <a:gd name="connsiteY1" fmla="*/ 942602 h 956907"/>
              <a:gd name="connsiteX2" fmla="*/ 127 w 790892"/>
              <a:gd name="connsiteY2" fmla="*/ 366593 h 956907"/>
              <a:gd name="connsiteX3" fmla="*/ 0 w 790892"/>
              <a:gd name="connsiteY3" fmla="*/ 304744 h 956907"/>
              <a:gd name="connsiteX4" fmla="*/ 0 w 790892"/>
              <a:gd name="connsiteY4" fmla="*/ 262390 h 956907"/>
              <a:gd name="connsiteX5" fmla="*/ 11621 w 790892"/>
              <a:gd name="connsiteY5" fmla="*/ 242261 h 956907"/>
              <a:gd name="connsiteX6" fmla="*/ 388557 w 790892"/>
              <a:gd name="connsiteY6" fmla="*/ 2421 h 956907"/>
              <a:gd name="connsiteX7" fmla="*/ 405448 w 790892"/>
              <a:gd name="connsiteY7" fmla="*/ 2485 h 956907"/>
              <a:gd name="connsiteX8" fmla="*/ 779780 w 790892"/>
              <a:gd name="connsiteY8" fmla="*/ 242578 h 956907"/>
              <a:gd name="connsiteX9" fmla="*/ 790766 w 790892"/>
              <a:gd name="connsiteY9" fmla="*/ 261311 h 956907"/>
              <a:gd name="connsiteX10" fmla="*/ 790766 w 790892"/>
              <a:gd name="connsiteY10" fmla="*/ 295093 h 956907"/>
              <a:gd name="connsiteX11" fmla="*/ 790892 w 790892"/>
              <a:gd name="connsiteY11" fmla="*/ 364435 h 956907"/>
              <a:gd name="connsiteX12" fmla="*/ 790892 w 790892"/>
              <a:gd name="connsiteY12" fmla="*/ 942602 h 956907"/>
              <a:gd name="connsiteX13" fmla="*/ 772097 w 790892"/>
              <a:gd name="connsiteY13" fmla="*/ 956064 h 956907"/>
              <a:gd name="connsiteX14" fmla="*/ 405321 w 790892"/>
              <a:gd name="connsiteY14" fmla="*/ 830715 h 956907"/>
              <a:gd name="connsiteX15" fmla="*/ 386334 w 790892"/>
              <a:gd name="connsiteY15" fmla="*/ 830715 h 956907"/>
              <a:gd name="connsiteX16" fmla="*/ 19367 w 790892"/>
              <a:gd name="connsiteY16" fmla="*/ 956000 h 956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90892" h="956907">
                <a:moveTo>
                  <a:pt x="19304" y="956128"/>
                </a:moveTo>
                <a:cubicBezTo>
                  <a:pt x="10097" y="959303"/>
                  <a:pt x="508" y="952381"/>
                  <a:pt x="445" y="942602"/>
                </a:cubicBezTo>
                <a:cubicBezTo>
                  <a:pt x="127" y="674378"/>
                  <a:pt x="127" y="625800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9"/>
                  <a:pt x="4699" y="246642"/>
                  <a:pt x="11621" y="242261"/>
                </a:cubicBezTo>
                <a:cubicBezTo>
                  <a:pt x="64262" y="208732"/>
                  <a:pt x="288036" y="66048"/>
                  <a:pt x="388557" y="2421"/>
                </a:cubicBezTo>
                <a:cubicBezTo>
                  <a:pt x="393700" y="-818"/>
                  <a:pt x="400304" y="-818"/>
                  <a:pt x="405448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3"/>
                </a:lnTo>
                <a:cubicBezTo>
                  <a:pt x="790766" y="295093"/>
                  <a:pt x="790892" y="364435"/>
                  <a:pt x="790892" y="364435"/>
                </a:cubicBezTo>
                <a:lnTo>
                  <a:pt x="790892" y="942602"/>
                </a:lnTo>
                <a:cubicBezTo>
                  <a:pt x="790892" y="952381"/>
                  <a:pt x="781304" y="959239"/>
                  <a:pt x="772097" y="956064"/>
                </a:cubicBezTo>
                <a:lnTo>
                  <a:pt x="405321" y="830715"/>
                </a:lnTo>
                <a:cubicBezTo>
                  <a:pt x="399161" y="828619"/>
                  <a:pt x="392494" y="828619"/>
                  <a:pt x="386334" y="830715"/>
                </a:cubicBezTo>
                <a:lnTo>
                  <a:pt x="19367" y="95600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4A0D345C-BA74-074C-2339-523DEF1EBD63}"/>
              </a:ext>
            </a:extLst>
          </p:cNvPr>
          <p:cNvSpPr/>
          <p:nvPr userDrawn="1"/>
        </p:nvSpPr>
        <p:spPr>
          <a:xfrm>
            <a:off x="4792916" y="6118383"/>
            <a:ext cx="790955" cy="484219"/>
          </a:xfrm>
          <a:custGeom>
            <a:avLst/>
            <a:gdLst>
              <a:gd name="connsiteX0" fmla="*/ 191 w 790955"/>
              <a:gd name="connsiteY0" fmla="*/ 366554 h 484219"/>
              <a:gd name="connsiteX1" fmla="*/ 191 w 790955"/>
              <a:gd name="connsiteY1" fmla="*/ 459835 h 484219"/>
              <a:gd name="connsiteX2" fmla="*/ 24574 w 790955"/>
              <a:gd name="connsiteY2" fmla="*/ 484220 h 484219"/>
              <a:gd name="connsiteX3" fmla="*/ 766572 w 790955"/>
              <a:gd name="connsiteY3" fmla="*/ 484220 h 484219"/>
              <a:gd name="connsiteX4" fmla="*/ 790956 w 790955"/>
              <a:gd name="connsiteY4" fmla="*/ 459835 h 484219"/>
              <a:gd name="connsiteX5" fmla="*/ 790956 w 790955"/>
              <a:gd name="connsiteY5" fmla="*/ 364458 h 484219"/>
              <a:gd name="connsiteX6" fmla="*/ 790829 w 790955"/>
              <a:gd name="connsiteY6" fmla="*/ 295116 h 484219"/>
              <a:gd name="connsiteX7" fmla="*/ 790829 w 790955"/>
              <a:gd name="connsiteY7" fmla="*/ 261334 h 484219"/>
              <a:gd name="connsiteX8" fmla="*/ 779780 w 790955"/>
              <a:gd name="connsiteY8" fmla="*/ 242602 h 484219"/>
              <a:gd name="connsiteX9" fmla="*/ 405448 w 790955"/>
              <a:gd name="connsiteY9" fmla="*/ 2508 h 484219"/>
              <a:gd name="connsiteX10" fmla="*/ 388557 w 790955"/>
              <a:gd name="connsiteY10" fmla="*/ 2445 h 484219"/>
              <a:gd name="connsiteX11" fmla="*/ 11621 w 790955"/>
              <a:gd name="connsiteY11" fmla="*/ 242284 h 484219"/>
              <a:gd name="connsiteX12" fmla="*/ 0 w 790955"/>
              <a:gd name="connsiteY12" fmla="*/ 262477 h 484219"/>
              <a:gd name="connsiteX13" fmla="*/ 0 w 790955"/>
              <a:gd name="connsiteY13" fmla="*/ 304832 h 484219"/>
              <a:gd name="connsiteX14" fmla="*/ 127 w 790955"/>
              <a:gd name="connsiteY14" fmla="*/ 366681 h 48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90955" h="484219">
                <a:moveTo>
                  <a:pt x="191" y="366554"/>
                </a:moveTo>
                <a:cubicBezTo>
                  <a:pt x="191" y="401098"/>
                  <a:pt x="191" y="431769"/>
                  <a:pt x="191" y="459835"/>
                </a:cubicBezTo>
                <a:cubicBezTo>
                  <a:pt x="191" y="473298"/>
                  <a:pt x="11113" y="484220"/>
                  <a:pt x="24574" y="484220"/>
                </a:cubicBezTo>
                <a:lnTo>
                  <a:pt x="766572" y="484220"/>
                </a:lnTo>
                <a:cubicBezTo>
                  <a:pt x="780034" y="484220"/>
                  <a:pt x="790956" y="473298"/>
                  <a:pt x="790956" y="459835"/>
                </a:cubicBezTo>
                <a:lnTo>
                  <a:pt x="790956" y="364458"/>
                </a:lnTo>
                <a:lnTo>
                  <a:pt x="790829" y="295116"/>
                </a:lnTo>
                <a:lnTo>
                  <a:pt x="790829" y="261334"/>
                </a:lnTo>
                <a:cubicBezTo>
                  <a:pt x="790194" y="253714"/>
                  <a:pt x="786257" y="246729"/>
                  <a:pt x="779780" y="242602"/>
                </a:cubicBezTo>
                <a:lnTo>
                  <a:pt x="405448" y="2508"/>
                </a:lnTo>
                <a:cubicBezTo>
                  <a:pt x="400304" y="-793"/>
                  <a:pt x="393764" y="-857"/>
                  <a:pt x="388557" y="2445"/>
                </a:cubicBezTo>
                <a:cubicBezTo>
                  <a:pt x="287973" y="66072"/>
                  <a:pt x="64262" y="208757"/>
                  <a:pt x="11621" y="242284"/>
                </a:cubicBezTo>
                <a:cubicBezTo>
                  <a:pt x="4699" y="246666"/>
                  <a:pt x="127" y="254286"/>
                  <a:pt x="0" y="262477"/>
                </a:cubicBezTo>
                <a:lnTo>
                  <a:pt x="0" y="304832"/>
                </a:lnTo>
                <a:cubicBezTo>
                  <a:pt x="0" y="304832"/>
                  <a:pt x="127" y="366681"/>
                  <a:pt x="127" y="366681"/>
                </a:cubicBez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90D735B8-109C-1D1E-29B3-42DA845B7377}"/>
              </a:ext>
            </a:extLst>
          </p:cNvPr>
          <p:cNvSpPr/>
          <p:nvPr userDrawn="1"/>
        </p:nvSpPr>
        <p:spPr>
          <a:xfrm>
            <a:off x="5700585" y="5639998"/>
            <a:ext cx="790892" cy="962541"/>
          </a:xfrm>
          <a:custGeom>
            <a:avLst/>
            <a:gdLst>
              <a:gd name="connsiteX0" fmla="*/ 676211 w 790892"/>
              <a:gd name="connsiteY0" fmla="*/ 962478 h 962541"/>
              <a:gd name="connsiteX1" fmla="*/ 24892 w 790892"/>
              <a:gd name="connsiteY1" fmla="*/ 962478 h 962541"/>
              <a:gd name="connsiteX2" fmla="*/ 445 w 790892"/>
              <a:gd name="connsiteY2" fmla="*/ 938030 h 962541"/>
              <a:gd name="connsiteX3" fmla="*/ 127 w 790892"/>
              <a:gd name="connsiteY3" fmla="*/ 366593 h 962541"/>
              <a:gd name="connsiteX4" fmla="*/ 0 w 790892"/>
              <a:gd name="connsiteY4" fmla="*/ 304744 h 962541"/>
              <a:gd name="connsiteX5" fmla="*/ 0 w 790892"/>
              <a:gd name="connsiteY5" fmla="*/ 262390 h 962541"/>
              <a:gd name="connsiteX6" fmla="*/ 11621 w 790892"/>
              <a:gd name="connsiteY6" fmla="*/ 242261 h 962541"/>
              <a:gd name="connsiteX7" fmla="*/ 388557 w 790892"/>
              <a:gd name="connsiteY7" fmla="*/ 2421 h 962541"/>
              <a:gd name="connsiteX8" fmla="*/ 405448 w 790892"/>
              <a:gd name="connsiteY8" fmla="*/ 2485 h 962541"/>
              <a:gd name="connsiteX9" fmla="*/ 779780 w 790892"/>
              <a:gd name="connsiteY9" fmla="*/ 242578 h 962541"/>
              <a:gd name="connsiteX10" fmla="*/ 790766 w 790892"/>
              <a:gd name="connsiteY10" fmla="*/ 261311 h 962541"/>
              <a:gd name="connsiteX11" fmla="*/ 790766 w 790892"/>
              <a:gd name="connsiteY11" fmla="*/ 295092 h 962541"/>
              <a:gd name="connsiteX12" fmla="*/ 790893 w 790892"/>
              <a:gd name="connsiteY12" fmla="*/ 364435 h 962541"/>
              <a:gd name="connsiteX13" fmla="*/ 790893 w 790892"/>
              <a:gd name="connsiteY13" fmla="*/ 938157 h 962541"/>
              <a:gd name="connsiteX14" fmla="*/ 766509 w 790892"/>
              <a:gd name="connsiteY14" fmla="*/ 962541 h 962541"/>
              <a:gd name="connsiteX15" fmla="*/ 676211 w 790892"/>
              <a:gd name="connsiteY15" fmla="*/ 962541 h 96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90892" h="962541">
                <a:moveTo>
                  <a:pt x="676211" y="962478"/>
                </a:moveTo>
                <a:lnTo>
                  <a:pt x="24892" y="962478"/>
                </a:lnTo>
                <a:cubicBezTo>
                  <a:pt x="11493" y="962478"/>
                  <a:pt x="445" y="951429"/>
                  <a:pt x="445" y="938030"/>
                </a:cubicBezTo>
                <a:cubicBezTo>
                  <a:pt x="127" y="673806"/>
                  <a:pt x="127" y="624277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8"/>
                  <a:pt x="4699" y="246642"/>
                  <a:pt x="11621" y="242261"/>
                </a:cubicBezTo>
                <a:cubicBezTo>
                  <a:pt x="64262" y="208732"/>
                  <a:pt x="288036" y="66048"/>
                  <a:pt x="388557" y="2421"/>
                </a:cubicBezTo>
                <a:cubicBezTo>
                  <a:pt x="393700" y="-818"/>
                  <a:pt x="400304" y="-818"/>
                  <a:pt x="405448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2"/>
                </a:lnTo>
                <a:cubicBezTo>
                  <a:pt x="790766" y="295092"/>
                  <a:pt x="790893" y="364435"/>
                  <a:pt x="790893" y="364435"/>
                </a:cubicBezTo>
                <a:lnTo>
                  <a:pt x="790893" y="938157"/>
                </a:lnTo>
                <a:cubicBezTo>
                  <a:pt x="790893" y="951619"/>
                  <a:pt x="779971" y="962541"/>
                  <a:pt x="766509" y="962541"/>
                </a:cubicBezTo>
                <a:lnTo>
                  <a:pt x="676211" y="962541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C9793DFC-005E-5573-223B-59EF637AD3A6}"/>
              </a:ext>
            </a:extLst>
          </p:cNvPr>
          <p:cNvSpPr/>
          <p:nvPr userDrawn="1"/>
        </p:nvSpPr>
        <p:spPr>
          <a:xfrm>
            <a:off x="7515732" y="5639998"/>
            <a:ext cx="790892" cy="962541"/>
          </a:xfrm>
          <a:custGeom>
            <a:avLst/>
            <a:gdLst>
              <a:gd name="connsiteX0" fmla="*/ 676211 w 790892"/>
              <a:gd name="connsiteY0" fmla="*/ 962478 h 962541"/>
              <a:gd name="connsiteX1" fmla="*/ 24892 w 790892"/>
              <a:gd name="connsiteY1" fmla="*/ 962478 h 962541"/>
              <a:gd name="connsiteX2" fmla="*/ 445 w 790892"/>
              <a:gd name="connsiteY2" fmla="*/ 938030 h 962541"/>
              <a:gd name="connsiteX3" fmla="*/ 127 w 790892"/>
              <a:gd name="connsiteY3" fmla="*/ 366593 h 962541"/>
              <a:gd name="connsiteX4" fmla="*/ 0 w 790892"/>
              <a:gd name="connsiteY4" fmla="*/ 304744 h 962541"/>
              <a:gd name="connsiteX5" fmla="*/ 0 w 790892"/>
              <a:gd name="connsiteY5" fmla="*/ 262390 h 962541"/>
              <a:gd name="connsiteX6" fmla="*/ 11621 w 790892"/>
              <a:gd name="connsiteY6" fmla="*/ 242261 h 962541"/>
              <a:gd name="connsiteX7" fmla="*/ 388557 w 790892"/>
              <a:gd name="connsiteY7" fmla="*/ 2421 h 962541"/>
              <a:gd name="connsiteX8" fmla="*/ 405448 w 790892"/>
              <a:gd name="connsiteY8" fmla="*/ 2485 h 962541"/>
              <a:gd name="connsiteX9" fmla="*/ 779780 w 790892"/>
              <a:gd name="connsiteY9" fmla="*/ 242578 h 962541"/>
              <a:gd name="connsiteX10" fmla="*/ 790766 w 790892"/>
              <a:gd name="connsiteY10" fmla="*/ 261311 h 962541"/>
              <a:gd name="connsiteX11" fmla="*/ 790766 w 790892"/>
              <a:gd name="connsiteY11" fmla="*/ 295092 h 962541"/>
              <a:gd name="connsiteX12" fmla="*/ 790893 w 790892"/>
              <a:gd name="connsiteY12" fmla="*/ 364435 h 962541"/>
              <a:gd name="connsiteX13" fmla="*/ 790893 w 790892"/>
              <a:gd name="connsiteY13" fmla="*/ 938157 h 962541"/>
              <a:gd name="connsiteX14" fmla="*/ 766509 w 790892"/>
              <a:gd name="connsiteY14" fmla="*/ 962541 h 962541"/>
              <a:gd name="connsiteX15" fmla="*/ 676211 w 790892"/>
              <a:gd name="connsiteY15" fmla="*/ 962541 h 96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90892" h="962541">
                <a:moveTo>
                  <a:pt x="676211" y="962478"/>
                </a:moveTo>
                <a:lnTo>
                  <a:pt x="24892" y="962478"/>
                </a:lnTo>
                <a:cubicBezTo>
                  <a:pt x="11494" y="962478"/>
                  <a:pt x="445" y="951429"/>
                  <a:pt x="445" y="938030"/>
                </a:cubicBezTo>
                <a:cubicBezTo>
                  <a:pt x="127" y="673806"/>
                  <a:pt x="127" y="624277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8"/>
                  <a:pt x="4699" y="246642"/>
                  <a:pt x="11621" y="242261"/>
                </a:cubicBezTo>
                <a:cubicBezTo>
                  <a:pt x="64262" y="208732"/>
                  <a:pt x="288036" y="66048"/>
                  <a:pt x="388557" y="2421"/>
                </a:cubicBezTo>
                <a:cubicBezTo>
                  <a:pt x="393700" y="-818"/>
                  <a:pt x="400304" y="-818"/>
                  <a:pt x="405448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2"/>
                </a:lnTo>
                <a:cubicBezTo>
                  <a:pt x="790766" y="295092"/>
                  <a:pt x="790893" y="364435"/>
                  <a:pt x="790893" y="364435"/>
                </a:cubicBezTo>
                <a:lnTo>
                  <a:pt x="790893" y="938157"/>
                </a:lnTo>
                <a:cubicBezTo>
                  <a:pt x="790893" y="951619"/>
                  <a:pt x="779971" y="962541"/>
                  <a:pt x="766509" y="962541"/>
                </a:cubicBezTo>
                <a:lnTo>
                  <a:pt x="676211" y="962541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A6EF4F8F-68CD-1166-12E0-E9DBEB343F4B}"/>
              </a:ext>
            </a:extLst>
          </p:cNvPr>
          <p:cNvSpPr/>
          <p:nvPr userDrawn="1"/>
        </p:nvSpPr>
        <p:spPr>
          <a:xfrm>
            <a:off x="9330880" y="5639998"/>
            <a:ext cx="790892" cy="962541"/>
          </a:xfrm>
          <a:custGeom>
            <a:avLst/>
            <a:gdLst>
              <a:gd name="connsiteX0" fmla="*/ 676211 w 790892"/>
              <a:gd name="connsiteY0" fmla="*/ 962478 h 962541"/>
              <a:gd name="connsiteX1" fmla="*/ 24892 w 790892"/>
              <a:gd name="connsiteY1" fmla="*/ 962478 h 962541"/>
              <a:gd name="connsiteX2" fmla="*/ 444 w 790892"/>
              <a:gd name="connsiteY2" fmla="*/ 938030 h 962541"/>
              <a:gd name="connsiteX3" fmla="*/ 126 w 790892"/>
              <a:gd name="connsiteY3" fmla="*/ 366593 h 962541"/>
              <a:gd name="connsiteX4" fmla="*/ 0 w 790892"/>
              <a:gd name="connsiteY4" fmla="*/ 304744 h 962541"/>
              <a:gd name="connsiteX5" fmla="*/ 0 w 790892"/>
              <a:gd name="connsiteY5" fmla="*/ 262390 h 962541"/>
              <a:gd name="connsiteX6" fmla="*/ 11620 w 790892"/>
              <a:gd name="connsiteY6" fmla="*/ 242261 h 962541"/>
              <a:gd name="connsiteX7" fmla="*/ 388556 w 790892"/>
              <a:gd name="connsiteY7" fmla="*/ 2421 h 962541"/>
              <a:gd name="connsiteX8" fmla="*/ 405447 w 790892"/>
              <a:gd name="connsiteY8" fmla="*/ 2485 h 962541"/>
              <a:gd name="connsiteX9" fmla="*/ 779780 w 790892"/>
              <a:gd name="connsiteY9" fmla="*/ 242578 h 962541"/>
              <a:gd name="connsiteX10" fmla="*/ 790765 w 790892"/>
              <a:gd name="connsiteY10" fmla="*/ 261311 h 962541"/>
              <a:gd name="connsiteX11" fmla="*/ 790765 w 790892"/>
              <a:gd name="connsiteY11" fmla="*/ 295092 h 962541"/>
              <a:gd name="connsiteX12" fmla="*/ 790892 w 790892"/>
              <a:gd name="connsiteY12" fmla="*/ 364435 h 962541"/>
              <a:gd name="connsiteX13" fmla="*/ 790892 w 790892"/>
              <a:gd name="connsiteY13" fmla="*/ 938157 h 962541"/>
              <a:gd name="connsiteX14" fmla="*/ 766508 w 790892"/>
              <a:gd name="connsiteY14" fmla="*/ 962541 h 962541"/>
              <a:gd name="connsiteX15" fmla="*/ 676211 w 790892"/>
              <a:gd name="connsiteY15" fmla="*/ 962541 h 96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90892" h="962541">
                <a:moveTo>
                  <a:pt x="676211" y="962478"/>
                </a:moveTo>
                <a:lnTo>
                  <a:pt x="24892" y="962478"/>
                </a:lnTo>
                <a:cubicBezTo>
                  <a:pt x="11493" y="962478"/>
                  <a:pt x="444" y="951429"/>
                  <a:pt x="444" y="938030"/>
                </a:cubicBezTo>
                <a:cubicBezTo>
                  <a:pt x="126" y="673806"/>
                  <a:pt x="126" y="624277"/>
                  <a:pt x="126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6" y="254198"/>
                  <a:pt x="4699" y="246642"/>
                  <a:pt x="11620" y="242261"/>
                </a:cubicBezTo>
                <a:cubicBezTo>
                  <a:pt x="64262" y="208732"/>
                  <a:pt x="288036" y="66048"/>
                  <a:pt x="388556" y="2421"/>
                </a:cubicBezTo>
                <a:cubicBezTo>
                  <a:pt x="393700" y="-818"/>
                  <a:pt x="400303" y="-818"/>
                  <a:pt x="405447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5" y="261311"/>
                </a:cubicBezTo>
                <a:lnTo>
                  <a:pt x="790765" y="295092"/>
                </a:lnTo>
                <a:cubicBezTo>
                  <a:pt x="790765" y="295092"/>
                  <a:pt x="790892" y="364435"/>
                  <a:pt x="790892" y="364435"/>
                </a:cubicBezTo>
                <a:lnTo>
                  <a:pt x="790892" y="938157"/>
                </a:lnTo>
                <a:cubicBezTo>
                  <a:pt x="790892" y="951619"/>
                  <a:pt x="779970" y="962541"/>
                  <a:pt x="766508" y="962541"/>
                </a:cubicBezTo>
                <a:lnTo>
                  <a:pt x="676211" y="962541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248CF64F-4A07-5362-EA9A-881C782E5150}"/>
              </a:ext>
            </a:extLst>
          </p:cNvPr>
          <p:cNvSpPr/>
          <p:nvPr userDrawn="1"/>
        </p:nvSpPr>
        <p:spPr>
          <a:xfrm>
            <a:off x="11146028" y="5639998"/>
            <a:ext cx="790892" cy="962541"/>
          </a:xfrm>
          <a:custGeom>
            <a:avLst/>
            <a:gdLst>
              <a:gd name="connsiteX0" fmla="*/ 676211 w 790892"/>
              <a:gd name="connsiteY0" fmla="*/ 962478 h 962541"/>
              <a:gd name="connsiteX1" fmla="*/ 24892 w 790892"/>
              <a:gd name="connsiteY1" fmla="*/ 962478 h 962541"/>
              <a:gd name="connsiteX2" fmla="*/ 444 w 790892"/>
              <a:gd name="connsiteY2" fmla="*/ 938030 h 962541"/>
              <a:gd name="connsiteX3" fmla="*/ 127 w 790892"/>
              <a:gd name="connsiteY3" fmla="*/ 366593 h 962541"/>
              <a:gd name="connsiteX4" fmla="*/ 0 w 790892"/>
              <a:gd name="connsiteY4" fmla="*/ 304744 h 962541"/>
              <a:gd name="connsiteX5" fmla="*/ 0 w 790892"/>
              <a:gd name="connsiteY5" fmla="*/ 262390 h 962541"/>
              <a:gd name="connsiteX6" fmla="*/ 11620 w 790892"/>
              <a:gd name="connsiteY6" fmla="*/ 242261 h 962541"/>
              <a:gd name="connsiteX7" fmla="*/ 388556 w 790892"/>
              <a:gd name="connsiteY7" fmla="*/ 2421 h 962541"/>
              <a:gd name="connsiteX8" fmla="*/ 405447 w 790892"/>
              <a:gd name="connsiteY8" fmla="*/ 2485 h 962541"/>
              <a:gd name="connsiteX9" fmla="*/ 779780 w 790892"/>
              <a:gd name="connsiteY9" fmla="*/ 242578 h 962541"/>
              <a:gd name="connsiteX10" fmla="*/ 790766 w 790892"/>
              <a:gd name="connsiteY10" fmla="*/ 261311 h 962541"/>
              <a:gd name="connsiteX11" fmla="*/ 790766 w 790892"/>
              <a:gd name="connsiteY11" fmla="*/ 295092 h 962541"/>
              <a:gd name="connsiteX12" fmla="*/ 790892 w 790892"/>
              <a:gd name="connsiteY12" fmla="*/ 364435 h 962541"/>
              <a:gd name="connsiteX13" fmla="*/ 790892 w 790892"/>
              <a:gd name="connsiteY13" fmla="*/ 938157 h 962541"/>
              <a:gd name="connsiteX14" fmla="*/ 766508 w 790892"/>
              <a:gd name="connsiteY14" fmla="*/ 962541 h 962541"/>
              <a:gd name="connsiteX15" fmla="*/ 676211 w 790892"/>
              <a:gd name="connsiteY15" fmla="*/ 962541 h 96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90892" h="962541">
                <a:moveTo>
                  <a:pt x="676211" y="962478"/>
                </a:moveTo>
                <a:lnTo>
                  <a:pt x="24892" y="962478"/>
                </a:lnTo>
                <a:cubicBezTo>
                  <a:pt x="11493" y="962478"/>
                  <a:pt x="444" y="951429"/>
                  <a:pt x="444" y="938030"/>
                </a:cubicBezTo>
                <a:cubicBezTo>
                  <a:pt x="127" y="673806"/>
                  <a:pt x="127" y="624277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8"/>
                  <a:pt x="4699" y="246642"/>
                  <a:pt x="11620" y="242261"/>
                </a:cubicBezTo>
                <a:cubicBezTo>
                  <a:pt x="64262" y="208732"/>
                  <a:pt x="288036" y="66048"/>
                  <a:pt x="388556" y="2421"/>
                </a:cubicBezTo>
                <a:cubicBezTo>
                  <a:pt x="393700" y="-818"/>
                  <a:pt x="400303" y="-818"/>
                  <a:pt x="405447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2"/>
                </a:lnTo>
                <a:cubicBezTo>
                  <a:pt x="790766" y="295092"/>
                  <a:pt x="790892" y="364435"/>
                  <a:pt x="790892" y="364435"/>
                </a:cubicBezTo>
                <a:lnTo>
                  <a:pt x="790892" y="938157"/>
                </a:lnTo>
                <a:cubicBezTo>
                  <a:pt x="790892" y="951619"/>
                  <a:pt x="779970" y="962541"/>
                  <a:pt x="766508" y="962541"/>
                </a:cubicBezTo>
                <a:lnTo>
                  <a:pt x="676211" y="962541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0" name="Freeform 19">
            <a:extLst>
              <a:ext uri="{FF2B5EF4-FFF2-40B4-BE49-F238E27FC236}">
                <a16:creationId xmlns:a16="http://schemas.microsoft.com/office/drawing/2014/main" id="{61D069F3-B2D0-F1C9-B1D2-5C51281F129D}"/>
              </a:ext>
            </a:extLst>
          </p:cNvPr>
          <p:cNvSpPr/>
          <p:nvPr userDrawn="1"/>
        </p:nvSpPr>
        <p:spPr>
          <a:xfrm>
            <a:off x="6608127" y="5161335"/>
            <a:ext cx="790892" cy="956907"/>
          </a:xfrm>
          <a:custGeom>
            <a:avLst/>
            <a:gdLst>
              <a:gd name="connsiteX0" fmla="*/ 19303 w 790892"/>
              <a:gd name="connsiteY0" fmla="*/ 956128 h 956907"/>
              <a:gd name="connsiteX1" fmla="*/ 444 w 790892"/>
              <a:gd name="connsiteY1" fmla="*/ 942602 h 956907"/>
              <a:gd name="connsiteX2" fmla="*/ 127 w 790892"/>
              <a:gd name="connsiteY2" fmla="*/ 366593 h 956907"/>
              <a:gd name="connsiteX3" fmla="*/ 0 w 790892"/>
              <a:gd name="connsiteY3" fmla="*/ 304744 h 956907"/>
              <a:gd name="connsiteX4" fmla="*/ 0 w 790892"/>
              <a:gd name="connsiteY4" fmla="*/ 262390 h 956907"/>
              <a:gd name="connsiteX5" fmla="*/ 11620 w 790892"/>
              <a:gd name="connsiteY5" fmla="*/ 242261 h 956907"/>
              <a:gd name="connsiteX6" fmla="*/ 388556 w 790892"/>
              <a:gd name="connsiteY6" fmla="*/ 2421 h 956907"/>
              <a:gd name="connsiteX7" fmla="*/ 405447 w 790892"/>
              <a:gd name="connsiteY7" fmla="*/ 2485 h 956907"/>
              <a:gd name="connsiteX8" fmla="*/ 779780 w 790892"/>
              <a:gd name="connsiteY8" fmla="*/ 242578 h 956907"/>
              <a:gd name="connsiteX9" fmla="*/ 790766 w 790892"/>
              <a:gd name="connsiteY9" fmla="*/ 261311 h 956907"/>
              <a:gd name="connsiteX10" fmla="*/ 790766 w 790892"/>
              <a:gd name="connsiteY10" fmla="*/ 295093 h 956907"/>
              <a:gd name="connsiteX11" fmla="*/ 790892 w 790892"/>
              <a:gd name="connsiteY11" fmla="*/ 364435 h 956907"/>
              <a:gd name="connsiteX12" fmla="*/ 790892 w 790892"/>
              <a:gd name="connsiteY12" fmla="*/ 942602 h 956907"/>
              <a:gd name="connsiteX13" fmla="*/ 772096 w 790892"/>
              <a:gd name="connsiteY13" fmla="*/ 956064 h 956907"/>
              <a:gd name="connsiteX14" fmla="*/ 405320 w 790892"/>
              <a:gd name="connsiteY14" fmla="*/ 830715 h 956907"/>
              <a:gd name="connsiteX15" fmla="*/ 386334 w 790892"/>
              <a:gd name="connsiteY15" fmla="*/ 830715 h 956907"/>
              <a:gd name="connsiteX16" fmla="*/ 19367 w 790892"/>
              <a:gd name="connsiteY16" fmla="*/ 956000 h 956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90892" h="956907">
                <a:moveTo>
                  <a:pt x="19303" y="956128"/>
                </a:moveTo>
                <a:cubicBezTo>
                  <a:pt x="10096" y="959303"/>
                  <a:pt x="508" y="952381"/>
                  <a:pt x="444" y="942602"/>
                </a:cubicBezTo>
                <a:cubicBezTo>
                  <a:pt x="127" y="674378"/>
                  <a:pt x="127" y="625800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9"/>
                  <a:pt x="4699" y="246642"/>
                  <a:pt x="11620" y="242261"/>
                </a:cubicBezTo>
                <a:cubicBezTo>
                  <a:pt x="64262" y="208732"/>
                  <a:pt x="288036" y="66048"/>
                  <a:pt x="388556" y="2421"/>
                </a:cubicBezTo>
                <a:cubicBezTo>
                  <a:pt x="393700" y="-818"/>
                  <a:pt x="400303" y="-818"/>
                  <a:pt x="405447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3"/>
                </a:lnTo>
                <a:cubicBezTo>
                  <a:pt x="790766" y="295093"/>
                  <a:pt x="790892" y="364435"/>
                  <a:pt x="790892" y="364435"/>
                </a:cubicBezTo>
                <a:lnTo>
                  <a:pt x="790892" y="942602"/>
                </a:lnTo>
                <a:cubicBezTo>
                  <a:pt x="790892" y="952381"/>
                  <a:pt x="781304" y="959239"/>
                  <a:pt x="772096" y="956064"/>
                </a:cubicBezTo>
                <a:lnTo>
                  <a:pt x="405320" y="830715"/>
                </a:lnTo>
                <a:cubicBezTo>
                  <a:pt x="399161" y="828619"/>
                  <a:pt x="392493" y="828619"/>
                  <a:pt x="386334" y="830715"/>
                </a:cubicBezTo>
                <a:lnTo>
                  <a:pt x="19367" y="95600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4163346D-3F6B-3B86-5084-09FFE7F17AFA}"/>
              </a:ext>
            </a:extLst>
          </p:cNvPr>
          <p:cNvSpPr/>
          <p:nvPr userDrawn="1"/>
        </p:nvSpPr>
        <p:spPr>
          <a:xfrm>
            <a:off x="6608064" y="6118383"/>
            <a:ext cx="790955" cy="484219"/>
          </a:xfrm>
          <a:custGeom>
            <a:avLst/>
            <a:gdLst>
              <a:gd name="connsiteX0" fmla="*/ 191 w 790955"/>
              <a:gd name="connsiteY0" fmla="*/ 366554 h 484219"/>
              <a:gd name="connsiteX1" fmla="*/ 191 w 790955"/>
              <a:gd name="connsiteY1" fmla="*/ 459835 h 484219"/>
              <a:gd name="connsiteX2" fmla="*/ 24574 w 790955"/>
              <a:gd name="connsiteY2" fmla="*/ 484220 h 484219"/>
              <a:gd name="connsiteX3" fmla="*/ 766572 w 790955"/>
              <a:gd name="connsiteY3" fmla="*/ 484220 h 484219"/>
              <a:gd name="connsiteX4" fmla="*/ 790956 w 790955"/>
              <a:gd name="connsiteY4" fmla="*/ 459835 h 484219"/>
              <a:gd name="connsiteX5" fmla="*/ 790956 w 790955"/>
              <a:gd name="connsiteY5" fmla="*/ 364458 h 484219"/>
              <a:gd name="connsiteX6" fmla="*/ 790829 w 790955"/>
              <a:gd name="connsiteY6" fmla="*/ 295116 h 484219"/>
              <a:gd name="connsiteX7" fmla="*/ 790829 w 790955"/>
              <a:gd name="connsiteY7" fmla="*/ 261334 h 484219"/>
              <a:gd name="connsiteX8" fmla="*/ 779780 w 790955"/>
              <a:gd name="connsiteY8" fmla="*/ 242602 h 484219"/>
              <a:gd name="connsiteX9" fmla="*/ 405447 w 790955"/>
              <a:gd name="connsiteY9" fmla="*/ 2508 h 484219"/>
              <a:gd name="connsiteX10" fmla="*/ 388556 w 790955"/>
              <a:gd name="connsiteY10" fmla="*/ 2445 h 484219"/>
              <a:gd name="connsiteX11" fmla="*/ 11620 w 790955"/>
              <a:gd name="connsiteY11" fmla="*/ 242284 h 484219"/>
              <a:gd name="connsiteX12" fmla="*/ 0 w 790955"/>
              <a:gd name="connsiteY12" fmla="*/ 262477 h 484219"/>
              <a:gd name="connsiteX13" fmla="*/ 0 w 790955"/>
              <a:gd name="connsiteY13" fmla="*/ 304832 h 484219"/>
              <a:gd name="connsiteX14" fmla="*/ 127 w 790955"/>
              <a:gd name="connsiteY14" fmla="*/ 366681 h 48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90955" h="484219">
                <a:moveTo>
                  <a:pt x="191" y="366554"/>
                </a:moveTo>
                <a:cubicBezTo>
                  <a:pt x="191" y="401098"/>
                  <a:pt x="191" y="431769"/>
                  <a:pt x="191" y="459835"/>
                </a:cubicBezTo>
                <a:cubicBezTo>
                  <a:pt x="191" y="473298"/>
                  <a:pt x="11113" y="484220"/>
                  <a:pt x="24574" y="484220"/>
                </a:cubicBezTo>
                <a:lnTo>
                  <a:pt x="766572" y="484220"/>
                </a:lnTo>
                <a:cubicBezTo>
                  <a:pt x="780034" y="484220"/>
                  <a:pt x="790956" y="473298"/>
                  <a:pt x="790956" y="459835"/>
                </a:cubicBezTo>
                <a:lnTo>
                  <a:pt x="790956" y="364458"/>
                </a:lnTo>
                <a:lnTo>
                  <a:pt x="790829" y="295116"/>
                </a:lnTo>
                <a:lnTo>
                  <a:pt x="790829" y="261334"/>
                </a:lnTo>
                <a:cubicBezTo>
                  <a:pt x="790194" y="253714"/>
                  <a:pt x="786257" y="246729"/>
                  <a:pt x="779780" y="242602"/>
                </a:cubicBezTo>
                <a:lnTo>
                  <a:pt x="405447" y="2508"/>
                </a:lnTo>
                <a:cubicBezTo>
                  <a:pt x="400304" y="-793"/>
                  <a:pt x="393764" y="-857"/>
                  <a:pt x="388556" y="2445"/>
                </a:cubicBezTo>
                <a:cubicBezTo>
                  <a:pt x="287972" y="66072"/>
                  <a:pt x="64262" y="208757"/>
                  <a:pt x="11620" y="242284"/>
                </a:cubicBezTo>
                <a:cubicBezTo>
                  <a:pt x="4699" y="246666"/>
                  <a:pt x="127" y="254286"/>
                  <a:pt x="0" y="262477"/>
                </a:cubicBezTo>
                <a:lnTo>
                  <a:pt x="0" y="304832"/>
                </a:lnTo>
                <a:cubicBezTo>
                  <a:pt x="0" y="304832"/>
                  <a:pt x="127" y="366681"/>
                  <a:pt x="127" y="366681"/>
                </a:cubicBez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6D5BD8B1-90A8-5EB3-2D9F-17DED0957EFF}"/>
              </a:ext>
            </a:extLst>
          </p:cNvPr>
          <p:cNvSpPr/>
          <p:nvPr userDrawn="1"/>
        </p:nvSpPr>
        <p:spPr>
          <a:xfrm>
            <a:off x="8423275" y="5161335"/>
            <a:ext cx="790892" cy="956907"/>
          </a:xfrm>
          <a:custGeom>
            <a:avLst/>
            <a:gdLst>
              <a:gd name="connsiteX0" fmla="*/ 19304 w 790892"/>
              <a:gd name="connsiteY0" fmla="*/ 956128 h 956907"/>
              <a:gd name="connsiteX1" fmla="*/ 444 w 790892"/>
              <a:gd name="connsiteY1" fmla="*/ 942602 h 956907"/>
              <a:gd name="connsiteX2" fmla="*/ 127 w 790892"/>
              <a:gd name="connsiteY2" fmla="*/ 366593 h 956907"/>
              <a:gd name="connsiteX3" fmla="*/ 0 w 790892"/>
              <a:gd name="connsiteY3" fmla="*/ 304744 h 956907"/>
              <a:gd name="connsiteX4" fmla="*/ 0 w 790892"/>
              <a:gd name="connsiteY4" fmla="*/ 262390 h 956907"/>
              <a:gd name="connsiteX5" fmla="*/ 11620 w 790892"/>
              <a:gd name="connsiteY5" fmla="*/ 242261 h 956907"/>
              <a:gd name="connsiteX6" fmla="*/ 388556 w 790892"/>
              <a:gd name="connsiteY6" fmla="*/ 2421 h 956907"/>
              <a:gd name="connsiteX7" fmla="*/ 405447 w 790892"/>
              <a:gd name="connsiteY7" fmla="*/ 2485 h 956907"/>
              <a:gd name="connsiteX8" fmla="*/ 779780 w 790892"/>
              <a:gd name="connsiteY8" fmla="*/ 242578 h 956907"/>
              <a:gd name="connsiteX9" fmla="*/ 790766 w 790892"/>
              <a:gd name="connsiteY9" fmla="*/ 261311 h 956907"/>
              <a:gd name="connsiteX10" fmla="*/ 790766 w 790892"/>
              <a:gd name="connsiteY10" fmla="*/ 295093 h 956907"/>
              <a:gd name="connsiteX11" fmla="*/ 790893 w 790892"/>
              <a:gd name="connsiteY11" fmla="*/ 364435 h 956907"/>
              <a:gd name="connsiteX12" fmla="*/ 790893 w 790892"/>
              <a:gd name="connsiteY12" fmla="*/ 942602 h 956907"/>
              <a:gd name="connsiteX13" fmla="*/ 772096 w 790892"/>
              <a:gd name="connsiteY13" fmla="*/ 956064 h 956907"/>
              <a:gd name="connsiteX14" fmla="*/ 405320 w 790892"/>
              <a:gd name="connsiteY14" fmla="*/ 830715 h 956907"/>
              <a:gd name="connsiteX15" fmla="*/ 386334 w 790892"/>
              <a:gd name="connsiteY15" fmla="*/ 830715 h 956907"/>
              <a:gd name="connsiteX16" fmla="*/ 19368 w 790892"/>
              <a:gd name="connsiteY16" fmla="*/ 956000 h 956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90892" h="956907">
                <a:moveTo>
                  <a:pt x="19304" y="956128"/>
                </a:moveTo>
                <a:cubicBezTo>
                  <a:pt x="10096" y="959303"/>
                  <a:pt x="508" y="952381"/>
                  <a:pt x="444" y="942602"/>
                </a:cubicBezTo>
                <a:cubicBezTo>
                  <a:pt x="127" y="674378"/>
                  <a:pt x="127" y="625800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9"/>
                  <a:pt x="4699" y="246642"/>
                  <a:pt x="11620" y="242261"/>
                </a:cubicBezTo>
                <a:cubicBezTo>
                  <a:pt x="64262" y="208732"/>
                  <a:pt x="288036" y="66048"/>
                  <a:pt x="388556" y="2421"/>
                </a:cubicBezTo>
                <a:cubicBezTo>
                  <a:pt x="393700" y="-818"/>
                  <a:pt x="400304" y="-818"/>
                  <a:pt x="405447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3"/>
                </a:lnTo>
                <a:cubicBezTo>
                  <a:pt x="790766" y="295093"/>
                  <a:pt x="790893" y="364435"/>
                  <a:pt x="790893" y="364435"/>
                </a:cubicBezTo>
                <a:lnTo>
                  <a:pt x="790893" y="942602"/>
                </a:lnTo>
                <a:cubicBezTo>
                  <a:pt x="790893" y="952381"/>
                  <a:pt x="781304" y="959239"/>
                  <a:pt x="772096" y="956064"/>
                </a:cubicBezTo>
                <a:lnTo>
                  <a:pt x="405320" y="830715"/>
                </a:lnTo>
                <a:cubicBezTo>
                  <a:pt x="399161" y="828619"/>
                  <a:pt x="392494" y="828619"/>
                  <a:pt x="386334" y="830715"/>
                </a:cubicBezTo>
                <a:lnTo>
                  <a:pt x="19368" y="95600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95153459-6179-2416-1C77-D091B56370CD}"/>
              </a:ext>
            </a:extLst>
          </p:cNvPr>
          <p:cNvSpPr/>
          <p:nvPr userDrawn="1"/>
        </p:nvSpPr>
        <p:spPr>
          <a:xfrm>
            <a:off x="8423211" y="6118383"/>
            <a:ext cx="790956" cy="484219"/>
          </a:xfrm>
          <a:custGeom>
            <a:avLst/>
            <a:gdLst>
              <a:gd name="connsiteX0" fmla="*/ 191 w 790956"/>
              <a:gd name="connsiteY0" fmla="*/ 366554 h 484219"/>
              <a:gd name="connsiteX1" fmla="*/ 191 w 790956"/>
              <a:gd name="connsiteY1" fmla="*/ 459835 h 484219"/>
              <a:gd name="connsiteX2" fmla="*/ 24574 w 790956"/>
              <a:gd name="connsiteY2" fmla="*/ 484220 h 484219"/>
              <a:gd name="connsiteX3" fmla="*/ 766572 w 790956"/>
              <a:gd name="connsiteY3" fmla="*/ 484220 h 484219"/>
              <a:gd name="connsiteX4" fmla="*/ 790956 w 790956"/>
              <a:gd name="connsiteY4" fmla="*/ 459835 h 484219"/>
              <a:gd name="connsiteX5" fmla="*/ 790956 w 790956"/>
              <a:gd name="connsiteY5" fmla="*/ 364458 h 484219"/>
              <a:gd name="connsiteX6" fmla="*/ 790829 w 790956"/>
              <a:gd name="connsiteY6" fmla="*/ 295116 h 484219"/>
              <a:gd name="connsiteX7" fmla="*/ 790829 w 790956"/>
              <a:gd name="connsiteY7" fmla="*/ 261334 h 484219"/>
              <a:gd name="connsiteX8" fmla="*/ 779780 w 790956"/>
              <a:gd name="connsiteY8" fmla="*/ 242602 h 484219"/>
              <a:gd name="connsiteX9" fmla="*/ 405447 w 790956"/>
              <a:gd name="connsiteY9" fmla="*/ 2508 h 484219"/>
              <a:gd name="connsiteX10" fmla="*/ 388557 w 790956"/>
              <a:gd name="connsiteY10" fmla="*/ 2445 h 484219"/>
              <a:gd name="connsiteX11" fmla="*/ 11620 w 790956"/>
              <a:gd name="connsiteY11" fmla="*/ 242284 h 484219"/>
              <a:gd name="connsiteX12" fmla="*/ 0 w 790956"/>
              <a:gd name="connsiteY12" fmla="*/ 262477 h 484219"/>
              <a:gd name="connsiteX13" fmla="*/ 0 w 790956"/>
              <a:gd name="connsiteY13" fmla="*/ 304832 h 484219"/>
              <a:gd name="connsiteX14" fmla="*/ 127 w 790956"/>
              <a:gd name="connsiteY14" fmla="*/ 366681 h 48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90956" h="484219">
                <a:moveTo>
                  <a:pt x="191" y="366554"/>
                </a:moveTo>
                <a:cubicBezTo>
                  <a:pt x="191" y="401098"/>
                  <a:pt x="191" y="431769"/>
                  <a:pt x="191" y="459835"/>
                </a:cubicBezTo>
                <a:cubicBezTo>
                  <a:pt x="191" y="473298"/>
                  <a:pt x="11113" y="484220"/>
                  <a:pt x="24574" y="484220"/>
                </a:cubicBezTo>
                <a:lnTo>
                  <a:pt x="766572" y="484220"/>
                </a:lnTo>
                <a:cubicBezTo>
                  <a:pt x="780034" y="484220"/>
                  <a:pt x="790956" y="473298"/>
                  <a:pt x="790956" y="459835"/>
                </a:cubicBezTo>
                <a:lnTo>
                  <a:pt x="790956" y="364458"/>
                </a:lnTo>
                <a:lnTo>
                  <a:pt x="790829" y="295116"/>
                </a:lnTo>
                <a:lnTo>
                  <a:pt x="790829" y="261334"/>
                </a:lnTo>
                <a:cubicBezTo>
                  <a:pt x="790194" y="253714"/>
                  <a:pt x="786257" y="246729"/>
                  <a:pt x="779780" y="242602"/>
                </a:cubicBezTo>
                <a:lnTo>
                  <a:pt x="405447" y="2508"/>
                </a:lnTo>
                <a:cubicBezTo>
                  <a:pt x="400304" y="-793"/>
                  <a:pt x="393764" y="-857"/>
                  <a:pt x="388557" y="2445"/>
                </a:cubicBezTo>
                <a:cubicBezTo>
                  <a:pt x="287972" y="66072"/>
                  <a:pt x="64262" y="208757"/>
                  <a:pt x="11620" y="242284"/>
                </a:cubicBezTo>
                <a:cubicBezTo>
                  <a:pt x="4699" y="246666"/>
                  <a:pt x="127" y="254286"/>
                  <a:pt x="0" y="262477"/>
                </a:cubicBezTo>
                <a:lnTo>
                  <a:pt x="0" y="304832"/>
                </a:lnTo>
                <a:cubicBezTo>
                  <a:pt x="0" y="304832"/>
                  <a:pt x="127" y="366681"/>
                  <a:pt x="127" y="366681"/>
                </a:cubicBez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34F2AA30-1365-3B86-C182-214B8B3D495E}"/>
              </a:ext>
            </a:extLst>
          </p:cNvPr>
          <p:cNvSpPr/>
          <p:nvPr userDrawn="1"/>
        </p:nvSpPr>
        <p:spPr>
          <a:xfrm>
            <a:off x="10238422" y="5161335"/>
            <a:ext cx="790892" cy="956907"/>
          </a:xfrm>
          <a:custGeom>
            <a:avLst/>
            <a:gdLst>
              <a:gd name="connsiteX0" fmla="*/ 19304 w 790892"/>
              <a:gd name="connsiteY0" fmla="*/ 956128 h 956907"/>
              <a:gd name="connsiteX1" fmla="*/ 445 w 790892"/>
              <a:gd name="connsiteY1" fmla="*/ 942602 h 956907"/>
              <a:gd name="connsiteX2" fmla="*/ 127 w 790892"/>
              <a:gd name="connsiteY2" fmla="*/ 366593 h 956907"/>
              <a:gd name="connsiteX3" fmla="*/ 0 w 790892"/>
              <a:gd name="connsiteY3" fmla="*/ 304744 h 956907"/>
              <a:gd name="connsiteX4" fmla="*/ 0 w 790892"/>
              <a:gd name="connsiteY4" fmla="*/ 262390 h 956907"/>
              <a:gd name="connsiteX5" fmla="*/ 11621 w 790892"/>
              <a:gd name="connsiteY5" fmla="*/ 242261 h 956907"/>
              <a:gd name="connsiteX6" fmla="*/ 388557 w 790892"/>
              <a:gd name="connsiteY6" fmla="*/ 2421 h 956907"/>
              <a:gd name="connsiteX7" fmla="*/ 405447 w 790892"/>
              <a:gd name="connsiteY7" fmla="*/ 2485 h 956907"/>
              <a:gd name="connsiteX8" fmla="*/ 779780 w 790892"/>
              <a:gd name="connsiteY8" fmla="*/ 242578 h 956907"/>
              <a:gd name="connsiteX9" fmla="*/ 790766 w 790892"/>
              <a:gd name="connsiteY9" fmla="*/ 261311 h 956907"/>
              <a:gd name="connsiteX10" fmla="*/ 790766 w 790892"/>
              <a:gd name="connsiteY10" fmla="*/ 295093 h 956907"/>
              <a:gd name="connsiteX11" fmla="*/ 790893 w 790892"/>
              <a:gd name="connsiteY11" fmla="*/ 364435 h 956907"/>
              <a:gd name="connsiteX12" fmla="*/ 790893 w 790892"/>
              <a:gd name="connsiteY12" fmla="*/ 942602 h 956907"/>
              <a:gd name="connsiteX13" fmla="*/ 772096 w 790892"/>
              <a:gd name="connsiteY13" fmla="*/ 956064 h 956907"/>
              <a:gd name="connsiteX14" fmla="*/ 405321 w 790892"/>
              <a:gd name="connsiteY14" fmla="*/ 830715 h 956907"/>
              <a:gd name="connsiteX15" fmla="*/ 386334 w 790892"/>
              <a:gd name="connsiteY15" fmla="*/ 830715 h 956907"/>
              <a:gd name="connsiteX16" fmla="*/ 19368 w 790892"/>
              <a:gd name="connsiteY16" fmla="*/ 956000 h 956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90892" h="956907">
                <a:moveTo>
                  <a:pt x="19304" y="956128"/>
                </a:moveTo>
                <a:cubicBezTo>
                  <a:pt x="10096" y="959303"/>
                  <a:pt x="508" y="952381"/>
                  <a:pt x="445" y="942602"/>
                </a:cubicBezTo>
                <a:cubicBezTo>
                  <a:pt x="127" y="674378"/>
                  <a:pt x="127" y="625800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9"/>
                  <a:pt x="4699" y="246642"/>
                  <a:pt x="11621" y="242261"/>
                </a:cubicBezTo>
                <a:cubicBezTo>
                  <a:pt x="64262" y="208732"/>
                  <a:pt x="288036" y="66048"/>
                  <a:pt x="388557" y="2421"/>
                </a:cubicBezTo>
                <a:cubicBezTo>
                  <a:pt x="393700" y="-818"/>
                  <a:pt x="400304" y="-818"/>
                  <a:pt x="405447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3"/>
                </a:lnTo>
                <a:cubicBezTo>
                  <a:pt x="790766" y="295093"/>
                  <a:pt x="790893" y="364435"/>
                  <a:pt x="790893" y="364435"/>
                </a:cubicBezTo>
                <a:lnTo>
                  <a:pt x="790893" y="942602"/>
                </a:lnTo>
                <a:cubicBezTo>
                  <a:pt x="790893" y="952381"/>
                  <a:pt x="781304" y="959239"/>
                  <a:pt x="772096" y="956064"/>
                </a:cubicBezTo>
                <a:lnTo>
                  <a:pt x="405321" y="830715"/>
                </a:lnTo>
                <a:cubicBezTo>
                  <a:pt x="399161" y="828619"/>
                  <a:pt x="392494" y="828619"/>
                  <a:pt x="386334" y="830715"/>
                </a:cubicBezTo>
                <a:lnTo>
                  <a:pt x="19368" y="95600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" name="Freeform 24">
            <a:extLst>
              <a:ext uri="{FF2B5EF4-FFF2-40B4-BE49-F238E27FC236}">
                <a16:creationId xmlns:a16="http://schemas.microsoft.com/office/drawing/2014/main" id="{51726329-0A0D-15EB-81C5-7D92342627F8}"/>
              </a:ext>
            </a:extLst>
          </p:cNvPr>
          <p:cNvSpPr/>
          <p:nvPr userDrawn="1"/>
        </p:nvSpPr>
        <p:spPr>
          <a:xfrm>
            <a:off x="10238358" y="6118383"/>
            <a:ext cx="790956" cy="484219"/>
          </a:xfrm>
          <a:custGeom>
            <a:avLst/>
            <a:gdLst>
              <a:gd name="connsiteX0" fmla="*/ 191 w 790956"/>
              <a:gd name="connsiteY0" fmla="*/ 366554 h 484219"/>
              <a:gd name="connsiteX1" fmla="*/ 191 w 790956"/>
              <a:gd name="connsiteY1" fmla="*/ 459835 h 484219"/>
              <a:gd name="connsiteX2" fmla="*/ 24574 w 790956"/>
              <a:gd name="connsiteY2" fmla="*/ 484220 h 484219"/>
              <a:gd name="connsiteX3" fmla="*/ 766573 w 790956"/>
              <a:gd name="connsiteY3" fmla="*/ 484220 h 484219"/>
              <a:gd name="connsiteX4" fmla="*/ 790956 w 790956"/>
              <a:gd name="connsiteY4" fmla="*/ 459835 h 484219"/>
              <a:gd name="connsiteX5" fmla="*/ 790956 w 790956"/>
              <a:gd name="connsiteY5" fmla="*/ 364458 h 484219"/>
              <a:gd name="connsiteX6" fmla="*/ 790829 w 790956"/>
              <a:gd name="connsiteY6" fmla="*/ 295116 h 484219"/>
              <a:gd name="connsiteX7" fmla="*/ 790829 w 790956"/>
              <a:gd name="connsiteY7" fmla="*/ 261334 h 484219"/>
              <a:gd name="connsiteX8" fmla="*/ 779780 w 790956"/>
              <a:gd name="connsiteY8" fmla="*/ 242602 h 484219"/>
              <a:gd name="connsiteX9" fmla="*/ 405447 w 790956"/>
              <a:gd name="connsiteY9" fmla="*/ 2508 h 484219"/>
              <a:gd name="connsiteX10" fmla="*/ 388557 w 790956"/>
              <a:gd name="connsiteY10" fmla="*/ 2445 h 484219"/>
              <a:gd name="connsiteX11" fmla="*/ 11621 w 790956"/>
              <a:gd name="connsiteY11" fmla="*/ 242284 h 484219"/>
              <a:gd name="connsiteX12" fmla="*/ 0 w 790956"/>
              <a:gd name="connsiteY12" fmla="*/ 262477 h 484219"/>
              <a:gd name="connsiteX13" fmla="*/ 0 w 790956"/>
              <a:gd name="connsiteY13" fmla="*/ 304832 h 484219"/>
              <a:gd name="connsiteX14" fmla="*/ 127 w 790956"/>
              <a:gd name="connsiteY14" fmla="*/ 366681 h 48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90956" h="484219">
                <a:moveTo>
                  <a:pt x="191" y="366554"/>
                </a:moveTo>
                <a:cubicBezTo>
                  <a:pt x="191" y="401098"/>
                  <a:pt x="191" y="431769"/>
                  <a:pt x="191" y="459835"/>
                </a:cubicBezTo>
                <a:cubicBezTo>
                  <a:pt x="191" y="473298"/>
                  <a:pt x="11113" y="484220"/>
                  <a:pt x="24574" y="484220"/>
                </a:cubicBezTo>
                <a:lnTo>
                  <a:pt x="766573" y="484220"/>
                </a:lnTo>
                <a:cubicBezTo>
                  <a:pt x="780035" y="484220"/>
                  <a:pt x="790956" y="473298"/>
                  <a:pt x="790956" y="459835"/>
                </a:cubicBezTo>
                <a:lnTo>
                  <a:pt x="790956" y="364458"/>
                </a:lnTo>
                <a:lnTo>
                  <a:pt x="790829" y="295116"/>
                </a:lnTo>
                <a:lnTo>
                  <a:pt x="790829" y="261334"/>
                </a:lnTo>
                <a:cubicBezTo>
                  <a:pt x="790194" y="253714"/>
                  <a:pt x="786257" y="246729"/>
                  <a:pt x="779780" y="242602"/>
                </a:cubicBezTo>
                <a:lnTo>
                  <a:pt x="405447" y="2508"/>
                </a:lnTo>
                <a:cubicBezTo>
                  <a:pt x="400304" y="-793"/>
                  <a:pt x="393764" y="-857"/>
                  <a:pt x="388557" y="2445"/>
                </a:cubicBezTo>
                <a:cubicBezTo>
                  <a:pt x="287972" y="66072"/>
                  <a:pt x="64262" y="208757"/>
                  <a:pt x="11621" y="242284"/>
                </a:cubicBezTo>
                <a:cubicBezTo>
                  <a:pt x="4699" y="246666"/>
                  <a:pt x="127" y="254286"/>
                  <a:pt x="0" y="262477"/>
                </a:cubicBezTo>
                <a:lnTo>
                  <a:pt x="0" y="304832"/>
                </a:lnTo>
                <a:cubicBezTo>
                  <a:pt x="0" y="304832"/>
                  <a:pt x="127" y="366681"/>
                  <a:pt x="127" y="366681"/>
                </a:cubicBez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663C4D1D-01BD-BC43-52D7-2FDE9C2A425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52354" y="1053550"/>
            <a:ext cx="9866569" cy="541204"/>
          </a:xfrm>
        </p:spPr>
        <p:txBody>
          <a:bodyPr anchor="t">
            <a:noAutofit/>
          </a:bodyPr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DE0772A8-9508-A64B-68C5-CD64D30DF7DA}"/>
              </a:ext>
            </a:extLst>
          </p:cNvPr>
          <p:cNvSpPr>
            <a:spLocks noGrp="1"/>
          </p:cNvSpPr>
          <p:nvPr>
            <p:ph type="body" sz="half" idx="11"/>
          </p:nvPr>
        </p:nvSpPr>
        <p:spPr>
          <a:xfrm>
            <a:off x="1152354" y="1564570"/>
            <a:ext cx="9866569" cy="345112"/>
          </a:xfrm>
        </p:spPr>
        <p:txBody>
          <a:bodyPr numCol="1">
            <a:noAutofit/>
          </a:bodyPr>
          <a:lstStyle>
            <a:lvl1pPr marL="0" indent="0">
              <a:buNone/>
              <a:defRPr sz="2400" b="0" i="0">
                <a:latin typeface="Helvetica" pitchFamily="2" charset="0"/>
                <a:ea typeface="Bagoss Standard" panose="020B0504060102020204" pitchFamily="34" charset="77"/>
                <a:cs typeface="Bagoss Standard" panose="020B0504060102020204" pitchFamily="34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Content Placeholder 19">
            <a:extLst>
              <a:ext uri="{FF2B5EF4-FFF2-40B4-BE49-F238E27FC236}">
                <a16:creationId xmlns:a16="http://schemas.microsoft.com/office/drawing/2014/main" id="{F7AF398D-3197-8F88-3647-3B11F50C993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152354" y="2017643"/>
            <a:ext cx="9866569" cy="282876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/>
            </a:lvl1pPr>
            <a:lvl2pPr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3835839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ontent-Pattern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>
            <a:extLst>
              <a:ext uri="{FF2B5EF4-FFF2-40B4-BE49-F238E27FC236}">
                <a16:creationId xmlns:a16="http://schemas.microsoft.com/office/drawing/2014/main" id="{338C377D-034B-C6EB-F59F-D29AE842AC0D}"/>
              </a:ext>
            </a:extLst>
          </p:cNvPr>
          <p:cNvSpPr/>
          <p:nvPr userDrawn="1"/>
        </p:nvSpPr>
        <p:spPr>
          <a:xfrm>
            <a:off x="255079" y="5639998"/>
            <a:ext cx="790892" cy="962541"/>
          </a:xfrm>
          <a:custGeom>
            <a:avLst/>
            <a:gdLst>
              <a:gd name="connsiteX0" fmla="*/ 676275 w 790892"/>
              <a:gd name="connsiteY0" fmla="*/ 962478 h 962541"/>
              <a:gd name="connsiteX1" fmla="*/ 24892 w 790892"/>
              <a:gd name="connsiteY1" fmla="*/ 962478 h 962541"/>
              <a:gd name="connsiteX2" fmla="*/ 445 w 790892"/>
              <a:gd name="connsiteY2" fmla="*/ 938030 h 962541"/>
              <a:gd name="connsiteX3" fmla="*/ 127 w 790892"/>
              <a:gd name="connsiteY3" fmla="*/ 366593 h 962541"/>
              <a:gd name="connsiteX4" fmla="*/ 0 w 790892"/>
              <a:gd name="connsiteY4" fmla="*/ 304744 h 962541"/>
              <a:gd name="connsiteX5" fmla="*/ 0 w 790892"/>
              <a:gd name="connsiteY5" fmla="*/ 262390 h 962541"/>
              <a:gd name="connsiteX6" fmla="*/ 11621 w 790892"/>
              <a:gd name="connsiteY6" fmla="*/ 242261 h 962541"/>
              <a:gd name="connsiteX7" fmla="*/ 388557 w 790892"/>
              <a:gd name="connsiteY7" fmla="*/ 2421 h 962541"/>
              <a:gd name="connsiteX8" fmla="*/ 405448 w 790892"/>
              <a:gd name="connsiteY8" fmla="*/ 2485 h 962541"/>
              <a:gd name="connsiteX9" fmla="*/ 779780 w 790892"/>
              <a:gd name="connsiteY9" fmla="*/ 242578 h 962541"/>
              <a:gd name="connsiteX10" fmla="*/ 790766 w 790892"/>
              <a:gd name="connsiteY10" fmla="*/ 261311 h 962541"/>
              <a:gd name="connsiteX11" fmla="*/ 790766 w 790892"/>
              <a:gd name="connsiteY11" fmla="*/ 295092 h 962541"/>
              <a:gd name="connsiteX12" fmla="*/ 790893 w 790892"/>
              <a:gd name="connsiteY12" fmla="*/ 364435 h 962541"/>
              <a:gd name="connsiteX13" fmla="*/ 790893 w 790892"/>
              <a:gd name="connsiteY13" fmla="*/ 938157 h 962541"/>
              <a:gd name="connsiteX14" fmla="*/ 766509 w 790892"/>
              <a:gd name="connsiteY14" fmla="*/ 962541 h 962541"/>
              <a:gd name="connsiteX15" fmla="*/ 676212 w 790892"/>
              <a:gd name="connsiteY15" fmla="*/ 962541 h 96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90892" h="962541">
                <a:moveTo>
                  <a:pt x="676275" y="962478"/>
                </a:moveTo>
                <a:lnTo>
                  <a:pt x="24892" y="962478"/>
                </a:lnTo>
                <a:cubicBezTo>
                  <a:pt x="11494" y="962478"/>
                  <a:pt x="445" y="951429"/>
                  <a:pt x="445" y="938030"/>
                </a:cubicBezTo>
                <a:cubicBezTo>
                  <a:pt x="127" y="673806"/>
                  <a:pt x="127" y="624277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8"/>
                  <a:pt x="4699" y="246642"/>
                  <a:pt x="11621" y="242261"/>
                </a:cubicBezTo>
                <a:cubicBezTo>
                  <a:pt x="64262" y="208732"/>
                  <a:pt x="288036" y="66048"/>
                  <a:pt x="388557" y="2421"/>
                </a:cubicBezTo>
                <a:cubicBezTo>
                  <a:pt x="393700" y="-818"/>
                  <a:pt x="400304" y="-818"/>
                  <a:pt x="405448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2"/>
                </a:lnTo>
                <a:cubicBezTo>
                  <a:pt x="790766" y="295092"/>
                  <a:pt x="790893" y="364435"/>
                  <a:pt x="790893" y="364435"/>
                </a:cubicBezTo>
                <a:lnTo>
                  <a:pt x="790893" y="938157"/>
                </a:lnTo>
                <a:cubicBezTo>
                  <a:pt x="790893" y="951619"/>
                  <a:pt x="779971" y="962541"/>
                  <a:pt x="766509" y="962541"/>
                </a:cubicBezTo>
                <a:lnTo>
                  <a:pt x="676212" y="962541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" name="Freeform 2">
            <a:extLst>
              <a:ext uri="{FF2B5EF4-FFF2-40B4-BE49-F238E27FC236}">
                <a16:creationId xmlns:a16="http://schemas.microsoft.com/office/drawing/2014/main" id="{C67A4404-CAA4-2361-ED57-CEE502D5B645}"/>
              </a:ext>
            </a:extLst>
          </p:cNvPr>
          <p:cNvSpPr/>
          <p:nvPr userDrawn="1"/>
        </p:nvSpPr>
        <p:spPr>
          <a:xfrm>
            <a:off x="2070290" y="5639998"/>
            <a:ext cx="790892" cy="962541"/>
          </a:xfrm>
          <a:custGeom>
            <a:avLst/>
            <a:gdLst>
              <a:gd name="connsiteX0" fmla="*/ 676211 w 790892"/>
              <a:gd name="connsiteY0" fmla="*/ 962478 h 962541"/>
              <a:gd name="connsiteX1" fmla="*/ 24892 w 790892"/>
              <a:gd name="connsiteY1" fmla="*/ 962478 h 962541"/>
              <a:gd name="connsiteX2" fmla="*/ 445 w 790892"/>
              <a:gd name="connsiteY2" fmla="*/ 938030 h 962541"/>
              <a:gd name="connsiteX3" fmla="*/ 127 w 790892"/>
              <a:gd name="connsiteY3" fmla="*/ 366593 h 962541"/>
              <a:gd name="connsiteX4" fmla="*/ 0 w 790892"/>
              <a:gd name="connsiteY4" fmla="*/ 304744 h 962541"/>
              <a:gd name="connsiteX5" fmla="*/ 0 w 790892"/>
              <a:gd name="connsiteY5" fmla="*/ 262390 h 962541"/>
              <a:gd name="connsiteX6" fmla="*/ 11620 w 790892"/>
              <a:gd name="connsiteY6" fmla="*/ 242261 h 962541"/>
              <a:gd name="connsiteX7" fmla="*/ 388557 w 790892"/>
              <a:gd name="connsiteY7" fmla="*/ 2421 h 962541"/>
              <a:gd name="connsiteX8" fmla="*/ 405448 w 790892"/>
              <a:gd name="connsiteY8" fmla="*/ 2485 h 962541"/>
              <a:gd name="connsiteX9" fmla="*/ 779780 w 790892"/>
              <a:gd name="connsiteY9" fmla="*/ 242578 h 962541"/>
              <a:gd name="connsiteX10" fmla="*/ 790766 w 790892"/>
              <a:gd name="connsiteY10" fmla="*/ 261311 h 962541"/>
              <a:gd name="connsiteX11" fmla="*/ 790766 w 790892"/>
              <a:gd name="connsiteY11" fmla="*/ 295092 h 962541"/>
              <a:gd name="connsiteX12" fmla="*/ 790892 w 790892"/>
              <a:gd name="connsiteY12" fmla="*/ 364435 h 962541"/>
              <a:gd name="connsiteX13" fmla="*/ 790892 w 790892"/>
              <a:gd name="connsiteY13" fmla="*/ 938157 h 962541"/>
              <a:gd name="connsiteX14" fmla="*/ 766508 w 790892"/>
              <a:gd name="connsiteY14" fmla="*/ 962541 h 962541"/>
              <a:gd name="connsiteX15" fmla="*/ 676211 w 790892"/>
              <a:gd name="connsiteY15" fmla="*/ 962541 h 96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90892" h="962541">
                <a:moveTo>
                  <a:pt x="676211" y="962478"/>
                </a:moveTo>
                <a:lnTo>
                  <a:pt x="24892" y="962478"/>
                </a:lnTo>
                <a:cubicBezTo>
                  <a:pt x="11493" y="962478"/>
                  <a:pt x="445" y="951429"/>
                  <a:pt x="445" y="938030"/>
                </a:cubicBezTo>
                <a:cubicBezTo>
                  <a:pt x="127" y="673806"/>
                  <a:pt x="127" y="624277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8"/>
                  <a:pt x="4699" y="246642"/>
                  <a:pt x="11620" y="242261"/>
                </a:cubicBezTo>
                <a:cubicBezTo>
                  <a:pt x="64262" y="208732"/>
                  <a:pt x="288036" y="66048"/>
                  <a:pt x="388557" y="2421"/>
                </a:cubicBezTo>
                <a:cubicBezTo>
                  <a:pt x="393700" y="-818"/>
                  <a:pt x="400304" y="-818"/>
                  <a:pt x="405448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2"/>
                </a:lnTo>
                <a:cubicBezTo>
                  <a:pt x="790766" y="295092"/>
                  <a:pt x="790892" y="364435"/>
                  <a:pt x="790892" y="364435"/>
                </a:cubicBezTo>
                <a:lnTo>
                  <a:pt x="790892" y="938157"/>
                </a:lnTo>
                <a:cubicBezTo>
                  <a:pt x="790892" y="951619"/>
                  <a:pt x="779970" y="962541"/>
                  <a:pt x="766508" y="962541"/>
                </a:cubicBezTo>
                <a:lnTo>
                  <a:pt x="676211" y="962541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CC90384A-32D4-7B78-CA7A-B084B07CDF95}"/>
              </a:ext>
            </a:extLst>
          </p:cNvPr>
          <p:cNvSpPr/>
          <p:nvPr userDrawn="1"/>
        </p:nvSpPr>
        <p:spPr>
          <a:xfrm>
            <a:off x="3885438" y="5639998"/>
            <a:ext cx="790892" cy="962541"/>
          </a:xfrm>
          <a:custGeom>
            <a:avLst/>
            <a:gdLst>
              <a:gd name="connsiteX0" fmla="*/ 676211 w 790892"/>
              <a:gd name="connsiteY0" fmla="*/ 962478 h 962541"/>
              <a:gd name="connsiteX1" fmla="*/ 24892 w 790892"/>
              <a:gd name="connsiteY1" fmla="*/ 962478 h 962541"/>
              <a:gd name="connsiteX2" fmla="*/ 445 w 790892"/>
              <a:gd name="connsiteY2" fmla="*/ 938030 h 962541"/>
              <a:gd name="connsiteX3" fmla="*/ 127 w 790892"/>
              <a:gd name="connsiteY3" fmla="*/ 366593 h 962541"/>
              <a:gd name="connsiteX4" fmla="*/ 0 w 790892"/>
              <a:gd name="connsiteY4" fmla="*/ 304744 h 962541"/>
              <a:gd name="connsiteX5" fmla="*/ 0 w 790892"/>
              <a:gd name="connsiteY5" fmla="*/ 262390 h 962541"/>
              <a:gd name="connsiteX6" fmla="*/ 11621 w 790892"/>
              <a:gd name="connsiteY6" fmla="*/ 242261 h 962541"/>
              <a:gd name="connsiteX7" fmla="*/ 388557 w 790892"/>
              <a:gd name="connsiteY7" fmla="*/ 2421 h 962541"/>
              <a:gd name="connsiteX8" fmla="*/ 405447 w 790892"/>
              <a:gd name="connsiteY8" fmla="*/ 2485 h 962541"/>
              <a:gd name="connsiteX9" fmla="*/ 779780 w 790892"/>
              <a:gd name="connsiteY9" fmla="*/ 242578 h 962541"/>
              <a:gd name="connsiteX10" fmla="*/ 790765 w 790892"/>
              <a:gd name="connsiteY10" fmla="*/ 261311 h 962541"/>
              <a:gd name="connsiteX11" fmla="*/ 790765 w 790892"/>
              <a:gd name="connsiteY11" fmla="*/ 295092 h 962541"/>
              <a:gd name="connsiteX12" fmla="*/ 790892 w 790892"/>
              <a:gd name="connsiteY12" fmla="*/ 364435 h 962541"/>
              <a:gd name="connsiteX13" fmla="*/ 790892 w 790892"/>
              <a:gd name="connsiteY13" fmla="*/ 938157 h 962541"/>
              <a:gd name="connsiteX14" fmla="*/ 766509 w 790892"/>
              <a:gd name="connsiteY14" fmla="*/ 962541 h 962541"/>
              <a:gd name="connsiteX15" fmla="*/ 676211 w 790892"/>
              <a:gd name="connsiteY15" fmla="*/ 962541 h 96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90892" h="962541">
                <a:moveTo>
                  <a:pt x="676211" y="962478"/>
                </a:moveTo>
                <a:lnTo>
                  <a:pt x="24892" y="962478"/>
                </a:lnTo>
                <a:cubicBezTo>
                  <a:pt x="11493" y="962478"/>
                  <a:pt x="445" y="951429"/>
                  <a:pt x="445" y="938030"/>
                </a:cubicBezTo>
                <a:cubicBezTo>
                  <a:pt x="127" y="673806"/>
                  <a:pt x="127" y="624277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8"/>
                  <a:pt x="4699" y="246642"/>
                  <a:pt x="11621" y="242261"/>
                </a:cubicBezTo>
                <a:cubicBezTo>
                  <a:pt x="64262" y="208732"/>
                  <a:pt x="288036" y="66048"/>
                  <a:pt x="388557" y="2421"/>
                </a:cubicBezTo>
                <a:cubicBezTo>
                  <a:pt x="393700" y="-818"/>
                  <a:pt x="400304" y="-818"/>
                  <a:pt x="405447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5" y="261311"/>
                </a:cubicBezTo>
                <a:lnTo>
                  <a:pt x="790765" y="295092"/>
                </a:lnTo>
                <a:cubicBezTo>
                  <a:pt x="790765" y="295092"/>
                  <a:pt x="790892" y="364435"/>
                  <a:pt x="790892" y="364435"/>
                </a:cubicBezTo>
                <a:lnTo>
                  <a:pt x="790892" y="938157"/>
                </a:lnTo>
                <a:cubicBezTo>
                  <a:pt x="790892" y="951619"/>
                  <a:pt x="779971" y="962541"/>
                  <a:pt x="766509" y="962541"/>
                </a:cubicBezTo>
                <a:lnTo>
                  <a:pt x="676211" y="962541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B94490EE-FF53-202E-7069-DFF3323FB3E2}"/>
              </a:ext>
            </a:extLst>
          </p:cNvPr>
          <p:cNvSpPr/>
          <p:nvPr userDrawn="1"/>
        </p:nvSpPr>
        <p:spPr>
          <a:xfrm>
            <a:off x="5700585" y="5639998"/>
            <a:ext cx="790892" cy="962541"/>
          </a:xfrm>
          <a:custGeom>
            <a:avLst/>
            <a:gdLst>
              <a:gd name="connsiteX0" fmla="*/ 676211 w 790892"/>
              <a:gd name="connsiteY0" fmla="*/ 962478 h 962541"/>
              <a:gd name="connsiteX1" fmla="*/ 24892 w 790892"/>
              <a:gd name="connsiteY1" fmla="*/ 962478 h 962541"/>
              <a:gd name="connsiteX2" fmla="*/ 445 w 790892"/>
              <a:gd name="connsiteY2" fmla="*/ 938030 h 962541"/>
              <a:gd name="connsiteX3" fmla="*/ 127 w 790892"/>
              <a:gd name="connsiteY3" fmla="*/ 366593 h 962541"/>
              <a:gd name="connsiteX4" fmla="*/ 0 w 790892"/>
              <a:gd name="connsiteY4" fmla="*/ 304744 h 962541"/>
              <a:gd name="connsiteX5" fmla="*/ 0 w 790892"/>
              <a:gd name="connsiteY5" fmla="*/ 262390 h 962541"/>
              <a:gd name="connsiteX6" fmla="*/ 11621 w 790892"/>
              <a:gd name="connsiteY6" fmla="*/ 242261 h 962541"/>
              <a:gd name="connsiteX7" fmla="*/ 388557 w 790892"/>
              <a:gd name="connsiteY7" fmla="*/ 2421 h 962541"/>
              <a:gd name="connsiteX8" fmla="*/ 405448 w 790892"/>
              <a:gd name="connsiteY8" fmla="*/ 2485 h 962541"/>
              <a:gd name="connsiteX9" fmla="*/ 779780 w 790892"/>
              <a:gd name="connsiteY9" fmla="*/ 242578 h 962541"/>
              <a:gd name="connsiteX10" fmla="*/ 790766 w 790892"/>
              <a:gd name="connsiteY10" fmla="*/ 261311 h 962541"/>
              <a:gd name="connsiteX11" fmla="*/ 790766 w 790892"/>
              <a:gd name="connsiteY11" fmla="*/ 295092 h 962541"/>
              <a:gd name="connsiteX12" fmla="*/ 790893 w 790892"/>
              <a:gd name="connsiteY12" fmla="*/ 364435 h 962541"/>
              <a:gd name="connsiteX13" fmla="*/ 790893 w 790892"/>
              <a:gd name="connsiteY13" fmla="*/ 938157 h 962541"/>
              <a:gd name="connsiteX14" fmla="*/ 766509 w 790892"/>
              <a:gd name="connsiteY14" fmla="*/ 962541 h 962541"/>
              <a:gd name="connsiteX15" fmla="*/ 676211 w 790892"/>
              <a:gd name="connsiteY15" fmla="*/ 962541 h 96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90892" h="962541">
                <a:moveTo>
                  <a:pt x="676211" y="962478"/>
                </a:moveTo>
                <a:lnTo>
                  <a:pt x="24892" y="962478"/>
                </a:lnTo>
                <a:cubicBezTo>
                  <a:pt x="11493" y="962478"/>
                  <a:pt x="445" y="951429"/>
                  <a:pt x="445" y="938030"/>
                </a:cubicBezTo>
                <a:cubicBezTo>
                  <a:pt x="127" y="673806"/>
                  <a:pt x="127" y="624277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8"/>
                  <a:pt x="4699" y="246642"/>
                  <a:pt x="11621" y="242261"/>
                </a:cubicBezTo>
                <a:cubicBezTo>
                  <a:pt x="64262" y="208732"/>
                  <a:pt x="288036" y="66048"/>
                  <a:pt x="388557" y="2421"/>
                </a:cubicBezTo>
                <a:cubicBezTo>
                  <a:pt x="393700" y="-818"/>
                  <a:pt x="400304" y="-818"/>
                  <a:pt x="405448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2"/>
                </a:lnTo>
                <a:cubicBezTo>
                  <a:pt x="790766" y="295092"/>
                  <a:pt x="790893" y="364435"/>
                  <a:pt x="790893" y="364435"/>
                </a:cubicBezTo>
                <a:lnTo>
                  <a:pt x="790893" y="938157"/>
                </a:lnTo>
                <a:cubicBezTo>
                  <a:pt x="790893" y="951619"/>
                  <a:pt x="779971" y="962541"/>
                  <a:pt x="766509" y="962541"/>
                </a:cubicBezTo>
                <a:lnTo>
                  <a:pt x="676211" y="962541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6A19C6A7-4DAB-9B0E-2E7A-16CC010A8F5B}"/>
              </a:ext>
            </a:extLst>
          </p:cNvPr>
          <p:cNvSpPr/>
          <p:nvPr userDrawn="1"/>
        </p:nvSpPr>
        <p:spPr>
          <a:xfrm>
            <a:off x="1162685" y="5161335"/>
            <a:ext cx="790892" cy="956907"/>
          </a:xfrm>
          <a:custGeom>
            <a:avLst/>
            <a:gdLst>
              <a:gd name="connsiteX0" fmla="*/ 19304 w 790892"/>
              <a:gd name="connsiteY0" fmla="*/ 956128 h 956907"/>
              <a:gd name="connsiteX1" fmla="*/ 444 w 790892"/>
              <a:gd name="connsiteY1" fmla="*/ 942602 h 956907"/>
              <a:gd name="connsiteX2" fmla="*/ 127 w 790892"/>
              <a:gd name="connsiteY2" fmla="*/ 366593 h 956907"/>
              <a:gd name="connsiteX3" fmla="*/ 0 w 790892"/>
              <a:gd name="connsiteY3" fmla="*/ 304744 h 956907"/>
              <a:gd name="connsiteX4" fmla="*/ 0 w 790892"/>
              <a:gd name="connsiteY4" fmla="*/ 262390 h 956907"/>
              <a:gd name="connsiteX5" fmla="*/ 11620 w 790892"/>
              <a:gd name="connsiteY5" fmla="*/ 242261 h 956907"/>
              <a:gd name="connsiteX6" fmla="*/ 388556 w 790892"/>
              <a:gd name="connsiteY6" fmla="*/ 2421 h 956907"/>
              <a:gd name="connsiteX7" fmla="*/ 405447 w 790892"/>
              <a:gd name="connsiteY7" fmla="*/ 2485 h 956907"/>
              <a:gd name="connsiteX8" fmla="*/ 779780 w 790892"/>
              <a:gd name="connsiteY8" fmla="*/ 242578 h 956907"/>
              <a:gd name="connsiteX9" fmla="*/ 790766 w 790892"/>
              <a:gd name="connsiteY9" fmla="*/ 261311 h 956907"/>
              <a:gd name="connsiteX10" fmla="*/ 790766 w 790892"/>
              <a:gd name="connsiteY10" fmla="*/ 295093 h 956907"/>
              <a:gd name="connsiteX11" fmla="*/ 790892 w 790892"/>
              <a:gd name="connsiteY11" fmla="*/ 364435 h 956907"/>
              <a:gd name="connsiteX12" fmla="*/ 790892 w 790892"/>
              <a:gd name="connsiteY12" fmla="*/ 942602 h 956907"/>
              <a:gd name="connsiteX13" fmla="*/ 772097 w 790892"/>
              <a:gd name="connsiteY13" fmla="*/ 956064 h 956907"/>
              <a:gd name="connsiteX14" fmla="*/ 405320 w 790892"/>
              <a:gd name="connsiteY14" fmla="*/ 830715 h 956907"/>
              <a:gd name="connsiteX15" fmla="*/ 386334 w 790892"/>
              <a:gd name="connsiteY15" fmla="*/ 830715 h 956907"/>
              <a:gd name="connsiteX16" fmla="*/ 19367 w 790892"/>
              <a:gd name="connsiteY16" fmla="*/ 956000 h 956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90892" h="956907">
                <a:moveTo>
                  <a:pt x="19304" y="956128"/>
                </a:moveTo>
                <a:cubicBezTo>
                  <a:pt x="10096" y="959303"/>
                  <a:pt x="508" y="952381"/>
                  <a:pt x="444" y="942602"/>
                </a:cubicBezTo>
                <a:cubicBezTo>
                  <a:pt x="127" y="674378"/>
                  <a:pt x="127" y="625800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9"/>
                  <a:pt x="4699" y="246642"/>
                  <a:pt x="11620" y="242261"/>
                </a:cubicBezTo>
                <a:cubicBezTo>
                  <a:pt x="64262" y="208732"/>
                  <a:pt x="288036" y="66048"/>
                  <a:pt x="388556" y="2421"/>
                </a:cubicBezTo>
                <a:cubicBezTo>
                  <a:pt x="393700" y="-818"/>
                  <a:pt x="400304" y="-818"/>
                  <a:pt x="405447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3"/>
                </a:lnTo>
                <a:cubicBezTo>
                  <a:pt x="790766" y="295093"/>
                  <a:pt x="790892" y="364435"/>
                  <a:pt x="790892" y="364435"/>
                </a:cubicBezTo>
                <a:lnTo>
                  <a:pt x="790892" y="942602"/>
                </a:lnTo>
                <a:cubicBezTo>
                  <a:pt x="790892" y="952381"/>
                  <a:pt x="781304" y="959239"/>
                  <a:pt x="772097" y="956064"/>
                </a:cubicBezTo>
                <a:lnTo>
                  <a:pt x="405320" y="830715"/>
                </a:lnTo>
                <a:cubicBezTo>
                  <a:pt x="399161" y="828619"/>
                  <a:pt x="392494" y="828619"/>
                  <a:pt x="386334" y="830715"/>
                </a:cubicBezTo>
                <a:lnTo>
                  <a:pt x="19367" y="95600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60190AD4-C38D-47A8-C93E-4F66292460B8}"/>
              </a:ext>
            </a:extLst>
          </p:cNvPr>
          <p:cNvSpPr/>
          <p:nvPr userDrawn="1"/>
        </p:nvSpPr>
        <p:spPr>
          <a:xfrm>
            <a:off x="1162621" y="6118383"/>
            <a:ext cx="790955" cy="484219"/>
          </a:xfrm>
          <a:custGeom>
            <a:avLst/>
            <a:gdLst>
              <a:gd name="connsiteX0" fmla="*/ 190 w 790955"/>
              <a:gd name="connsiteY0" fmla="*/ 366554 h 484219"/>
              <a:gd name="connsiteX1" fmla="*/ 190 w 790955"/>
              <a:gd name="connsiteY1" fmla="*/ 459835 h 484219"/>
              <a:gd name="connsiteX2" fmla="*/ 24575 w 790955"/>
              <a:gd name="connsiteY2" fmla="*/ 484220 h 484219"/>
              <a:gd name="connsiteX3" fmla="*/ 766572 w 790955"/>
              <a:gd name="connsiteY3" fmla="*/ 484220 h 484219"/>
              <a:gd name="connsiteX4" fmla="*/ 790956 w 790955"/>
              <a:gd name="connsiteY4" fmla="*/ 459835 h 484219"/>
              <a:gd name="connsiteX5" fmla="*/ 790956 w 790955"/>
              <a:gd name="connsiteY5" fmla="*/ 364458 h 484219"/>
              <a:gd name="connsiteX6" fmla="*/ 790829 w 790955"/>
              <a:gd name="connsiteY6" fmla="*/ 295116 h 484219"/>
              <a:gd name="connsiteX7" fmla="*/ 790829 w 790955"/>
              <a:gd name="connsiteY7" fmla="*/ 261334 h 484219"/>
              <a:gd name="connsiteX8" fmla="*/ 779780 w 790955"/>
              <a:gd name="connsiteY8" fmla="*/ 242602 h 484219"/>
              <a:gd name="connsiteX9" fmla="*/ 405448 w 790955"/>
              <a:gd name="connsiteY9" fmla="*/ 2508 h 484219"/>
              <a:gd name="connsiteX10" fmla="*/ 388557 w 790955"/>
              <a:gd name="connsiteY10" fmla="*/ 2445 h 484219"/>
              <a:gd name="connsiteX11" fmla="*/ 11621 w 790955"/>
              <a:gd name="connsiteY11" fmla="*/ 242284 h 484219"/>
              <a:gd name="connsiteX12" fmla="*/ 0 w 790955"/>
              <a:gd name="connsiteY12" fmla="*/ 262477 h 484219"/>
              <a:gd name="connsiteX13" fmla="*/ 0 w 790955"/>
              <a:gd name="connsiteY13" fmla="*/ 304832 h 484219"/>
              <a:gd name="connsiteX14" fmla="*/ 127 w 790955"/>
              <a:gd name="connsiteY14" fmla="*/ 366681 h 48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90955" h="484219">
                <a:moveTo>
                  <a:pt x="190" y="366554"/>
                </a:moveTo>
                <a:cubicBezTo>
                  <a:pt x="190" y="401098"/>
                  <a:pt x="190" y="431769"/>
                  <a:pt x="190" y="459835"/>
                </a:cubicBezTo>
                <a:cubicBezTo>
                  <a:pt x="190" y="473298"/>
                  <a:pt x="11113" y="484220"/>
                  <a:pt x="24575" y="484220"/>
                </a:cubicBezTo>
                <a:lnTo>
                  <a:pt x="766572" y="484220"/>
                </a:lnTo>
                <a:cubicBezTo>
                  <a:pt x="780034" y="484220"/>
                  <a:pt x="790956" y="473298"/>
                  <a:pt x="790956" y="459835"/>
                </a:cubicBezTo>
                <a:lnTo>
                  <a:pt x="790956" y="364458"/>
                </a:lnTo>
                <a:lnTo>
                  <a:pt x="790829" y="295116"/>
                </a:lnTo>
                <a:lnTo>
                  <a:pt x="790829" y="261334"/>
                </a:lnTo>
                <a:cubicBezTo>
                  <a:pt x="790194" y="253714"/>
                  <a:pt x="786257" y="246729"/>
                  <a:pt x="779780" y="242602"/>
                </a:cubicBezTo>
                <a:lnTo>
                  <a:pt x="405448" y="2508"/>
                </a:lnTo>
                <a:cubicBezTo>
                  <a:pt x="400304" y="-793"/>
                  <a:pt x="393764" y="-857"/>
                  <a:pt x="388557" y="2445"/>
                </a:cubicBezTo>
                <a:cubicBezTo>
                  <a:pt x="287973" y="66072"/>
                  <a:pt x="64262" y="208757"/>
                  <a:pt x="11621" y="242284"/>
                </a:cubicBezTo>
                <a:cubicBezTo>
                  <a:pt x="4699" y="246666"/>
                  <a:pt x="127" y="254286"/>
                  <a:pt x="0" y="262477"/>
                </a:cubicBezTo>
                <a:lnTo>
                  <a:pt x="0" y="304832"/>
                </a:lnTo>
                <a:cubicBezTo>
                  <a:pt x="0" y="304832"/>
                  <a:pt x="127" y="366681"/>
                  <a:pt x="127" y="366681"/>
                </a:cubicBez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664CD5A9-957E-A5C1-E149-BF477DB74D8B}"/>
              </a:ext>
            </a:extLst>
          </p:cNvPr>
          <p:cNvSpPr/>
          <p:nvPr userDrawn="1"/>
        </p:nvSpPr>
        <p:spPr>
          <a:xfrm>
            <a:off x="2977832" y="5161335"/>
            <a:ext cx="790892" cy="956907"/>
          </a:xfrm>
          <a:custGeom>
            <a:avLst/>
            <a:gdLst>
              <a:gd name="connsiteX0" fmla="*/ 19304 w 790892"/>
              <a:gd name="connsiteY0" fmla="*/ 956128 h 956907"/>
              <a:gd name="connsiteX1" fmla="*/ 444 w 790892"/>
              <a:gd name="connsiteY1" fmla="*/ 942602 h 956907"/>
              <a:gd name="connsiteX2" fmla="*/ 127 w 790892"/>
              <a:gd name="connsiteY2" fmla="*/ 366593 h 956907"/>
              <a:gd name="connsiteX3" fmla="*/ 0 w 790892"/>
              <a:gd name="connsiteY3" fmla="*/ 304744 h 956907"/>
              <a:gd name="connsiteX4" fmla="*/ 0 w 790892"/>
              <a:gd name="connsiteY4" fmla="*/ 262390 h 956907"/>
              <a:gd name="connsiteX5" fmla="*/ 11620 w 790892"/>
              <a:gd name="connsiteY5" fmla="*/ 242261 h 956907"/>
              <a:gd name="connsiteX6" fmla="*/ 388557 w 790892"/>
              <a:gd name="connsiteY6" fmla="*/ 2421 h 956907"/>
              <a:gd name="connsiteX7" fmla="*/ 405447 w 790892"/>
              <a:gd name="connsiteY7" fmla="*/ 2485 h 956907"/>
              <a:gd name="connsiteX8" fmla="*/ 779780 w 790892"/>
              <a:gd name="connsiteY8" fmla="*/ 242578 h 956907"/>
              <a:gd name="connsiteX9" fmla="*/ 790765 w 790892"/>
              <a:gd name="connsiteY9" fmla="*/ 261311 h 956907"/>
              <a:gd name="connsiteX10" fmla="*/ 790765 w 790892"/>
              <a:gd name="connsiteY10" fmla="*/ 295093 h 956907"/>
              <a:gd name="connsiteX11" fmla="*/ 790892 w 790892"/>
              <a:gd name="connsiteY11" fmla="*/ 364435 h 956907"/>
              <a:gd name="connsiteX12" fmla="*/ 790892 w 790892"/>
              <a:gd name="connsiteY12" fmla="*/ 942602 h 956907"/>
              <a:gd name="connsiteX13" fmla="*/ 772096 w 790892"/>
              <a:gd name="connsiteY13" fmla="*/ 956064 h 956907"/>
              <a:gd name="connsiteX14" fmla="*/ 405321 w 790892"/>
              <a:gd name="connsiteY14" fmla="*/ 830715 h 956907"/>
              <a:gd name="connsiteX15" fmla="*/ 386334 w 790892"/>
              <a:gd name="connsiteY15" fmla="*/ 830715 h 956907"/>
              <a:gd name="connsiteX16" fmla="*/ 19367 w 790892"/>
              <a:gd name="connsiteY16" fmla="*/ 956000 h 956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90892" h="956907">
                <a:moveTo>
                  <a:pt x="19304" y="956128"/>
                </a:moveTo>
                <a:cubicBezTo>
                  <a:pt x="10096" y="959303"/>
                  <a:pt x="508" y="952381"/>
                  <a:pt x="444" y="942602"/>
                </a:cubicBezTo>
                <a:cubicBezTo>
                  <a:pt x="127" y="674378"/>
                  <a:pt x="127" y="625800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9"/>
                  <a:pt x="4699" y="246642"/>
                  <a:pt x="11620" y="242261"/>
                </a:cubicBezTo>
                <a:cubicBezTo>
                  <a:pt x="64262" y="208732"/>
                  <a:pt x="288036" y="66048"/>
                  <a:pt x="388557" y="2421"/>
                </a:cubicBezTo>
                <a:cubicBezTo>
                  <a:pt x="393700" y="-818"/>
                  <a:pt x="400304" y="-818"/>
                  <a:pt x="405447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5" y="261311"/>
                </a:cubicBezTo>
                <a:lnTo>
                  <a:pt x="790765" y="295093"/>
                </a:lnTo>
                <a:cubicBezTo>
                  <a:pt x="790765" y="295093"/>
                  <a:pt x="790892" y="364435"/>
                  <a:pt x="790892" y="364435"/>
                </a:cubicBezTo>
                <a:lnTo>
                  <a:pt x="790892" y="942602"/>
                </a:lnTo>
                <a:cubicBezTo>
                  <a:pt x="790892" y="952381"/>
                  <a:pt x="781304" y="959239"/>
                  <a:pt x="772096" y="956064"/>
                </a:cubicBezTo>
                <a:lnTo>
                  <a:pt x="405321" y="830715"/>
                </a:lnTo>
                <a:cubicBezTo>
                  <a:pt x="399161" y="828619"/>
                  <a:pt x="392494" y="828619"/>
                  <a:pt x="386334" y="830715"/>
                </a:cubicBezTo>
                <a:lnTo>
                  <a:pt x="19367" y="95600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3" name="Freeform 12">
            <a:extLst>
              <a:ext uri="{FF2B5EF4-FFF2-40B4-BE49-F238E27FC236}">
                <a16:creationId xmlns:a16="http://schemas.microsoft.com/office/drawing/2014/main" id="{6F31B87A-CB8A-F117-C2E4-4056D317CA5B}"/>
              </a:ext>
            </a:extLst>
          </p:cNvPr>
          <p:cNvSpPr/>
          <p:nvPr userDrawn="1"/>
        </p:nvSpPr>
        <p:spPr>
          <a:xfrm>
            <a:off x="2977769" y="6118383"/>
            <a:ext cx="790955" cy="484219"/>
          </a:xfrm>
          <a:custGeom>
            <a:avLst/>
            <a:gdLst>
              <a:gd name="connsiteX0" fmla="*/ 190 w 790955"/>
              <a:gd name="connsiteY0" fmla="*/ 366554 h 484219"/>
              <a:gd name="connsiteX1" fmla="*/ 190 w 790955"/>
              <a:gd name="connsiteY1" fmla="*/ 459835 h 484219"/>
              <a:gd name="connsiteX2" fmla="*/ 24574 w 790955"/>
              <a:gd name="connsiteY2" fmla="*/ 484220 h 484219"/>
              <a:gd name="connsiteX3" fmla="*/ 766572 w 790955"/>
              <a:gd name="connsiteY3" fmla="*/ 484220 h 484219"/>
              <a:gd name="connsiteX4" fmla="*/ 790956 w 790955"/>
              <a:gd name="connsiteY4" fmla="*/ 459835 h 484219"/>
              <a:gd name="connsiteX5" fmla="*/ 790956 w 790955"/>
              <a:gd name="connsiteY5" fmla="*/ 364458 h 484219"/>
              <a:gd name="connsiteX6" fmla="*/ 790829 w 790955"/>
              <a:gd name="connsiteY6" fmla="*/ 295116 h 484219"/>
              <a:gd name="connsiteX7" fmla="*/ 790829 w 790955"/>
              <a:gd name="connsiteY7" fmla="*/ 261334 h 484219"/>
              <a:gd name="connsiteX8" fmla="*/ 779780 w 790955"/>
              <a:gd name="connsiteY8" fmla="*/ 242602 h 484219"/>
              <a:gd name="connsiteX9" fmla="*/ 405447 w 790955"/>
              <a:gd name="connsiteY9" fmla="*/ 2508 h 484219"/>
              <a:gd name="connsiteX10" fmla="*/ 388557 w 790955"/>
              <a:gd name="connsiteY10" fmla="*/ 2445 h 484219"/>
              <a:gd name="connsiteX11" fmla="*/ 11620 w 790955"/>
              <a:gd name="connsiteY11" fmla="*/ 242284 h 484219"/>
              <a:gd name="connsiteX12" fmla="*/ 0 w 790955"/>
              <a:gd name="connsiteY12" fmla="*/ 262477 h 484219"/>
              <a:gd name="connsiteX13" fmla="*/ 0 w 790955"/>
              <a:gd name="connsiteY13" fmla="*/ 304832 h 484219"/>
              <a:gd name="connsiteX14" fmla="*/ 127 w 790955"/>
              <a:gd name="connsiteY14" fmla="*/ 366681 h 48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90955" h="484219">
                <a:moveTo>
                  <a:pt x="190" y="366554"/>
                </a:moveTo>
                <a:cubicBezTo>
                  <a:pt x="190" y="401098"/>
                  <a:pt x="190" y="431769"/>
                  <a:pt x="190" y="459835"/>
                </a:cubicBezTo>
                <a:cubicBezTo>
                  <a:pt x="190" y="473298"/>
                  <a:pt x="11113" y="484220"/>
                  <a:pt x="24574" y="484220"/>
                </a:cubicBezTo>
                <a:lnTo>
                  <a:pt x="766572" y="484220"/>
                </a:lnTo>
                <a:cubicBezTo>
                  <a:pt x="780034" y="484220"/>
                  <a:pt x="790956" y="473298"/>
                  <a:pt x="790956" y="459835"/>
                </a:cubicBezTo>
                <a:lnTo>
                  <a:pt x="790956" y="364458"/>
                </a:lnTo>
                <a:lnTo>
                  <a:pt x="790829" y="295116"/>
                </a:lnTo>
                <a:lnTo>
                  <a:pt x="790829" y="261334"/>
                </a:lnTo>
                <a:cubicBezTo>
                  <a:pt x="790194" y="253714"/>
                  <a:pt x="786257" y="246729"/>
                  <a:pt x="779780" y="242602"/>
                </a:cubicBezTo>
                <a:lnTo>
                  <a:pt x="405447" y="2508"/>
                </a:lnTo>
                <a:cubicBezTo>
                  <a:pt x="400304" y="-793"/>
                  <a:pt x="393764" y="-857"/>
                  <a:pt x="388557" y="2445"/>
                </a:cubicBezTo>
                <a:cubicBezTo>
                  <a:pt x="287972" y="66072"/>
                  <a:pt x="64262" y="208757"/>
                  <a:pt x="11620" y="242284"/>
                </a:cubicBezTo>
                <a:cubicBezTo>
                  <a:pt x="4699" y="246666"/>
                  <a:pt x="127" y="254286"/>
                  <a:pt x="0" y="262477"/>
                </a:cubicBezTo>
                <a:lnTo>
                  <a:pt x="0" y="304832"/>
                </a:lnTo>
                <a:cubicBezTo>
                  <a:pt x="0" y="304832"/>
                  <a:pt x="127" y="366681"/>
                  <a:pt x="127" y="366681"/>
                </a:cubicBez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4D23DC07-4457-26B6-7A34-47AB4348C90D}"/>
              </a:ext>
            </a:extLst>
          </p:cNvPr>
          <p:cNvSpPr/>
          <p:nvPr userDrawn="1"/>
        </p:nvSpPr>
        <p:spPr>
          <a:xfrm>
            <a:off x="4792979" y="5161335"/>
            <a:ext cx="790892" cy="956907"/>
          </a:xfrm>
          <a:custGeom>
            <a:avLst/>
            <a:gdLst>
              <a:gd name="connsiteX0" fmla="*/ 19304 w 790892"/>
              <a:gd name="connsiteY0" fmla="*/ 956128 h 956907"/>
              <a:gd name="connsiteX1" fmla="*/ 445 w 790892"/>
              <a:gd name="connsiteY1" fmla="*/ 942602 h 956907"/>
              <a:gd name="connsiteX2" fmla="*/ 127 w 790892"/>
              <a:gd name="connsiteY2" fmla="*/ 366593 h 956907"/>
              <a:gd name="connsiteX3" fmla="*/ 0 w 790892"/>
              <a:gd name="connsiteY3" fmla="*/ 304744 h 956907"/>
              <a:gd name="connsiteX4" fmla="*/ 0 w 790892"/>
              <a:gd name="connsiteY4" fmla="*/ 262390 h 956907"/>
              <a:gd name="connsiteX5" fmla="*/ 11621 w 790892"/>
              <a:gd name="connsiteY5" fmla="*/ 242261 h 956907"/>
              <a:gd name="connsiteX6" fmla="*/ 388557 w 790892"/>
              <a:gd name="connsiteY6" fmla="*/ 2421 h 956907"/>
              <a:gd name="connsiteX7" fmla="*/ 405448 w 790892"/>
              <a:gd name="connsiteY7" fmla="*/ 2485 h 956907"/>
              <a:gd name="connsiteX8" fmla="*/ 779780 w 790892"/>
              <a:gd name="connsiteY8" fmla="*/ 242578 h 956907"/>
              <a:gd name="connsiteX9" fmla="*/ 790766 w 790892"/>
              <a:gd name="connsiteY9" fmla="*/ 261311 h 956907"/>
              <a:gd name="connsiteX10" fmla="*/ 790766 w 790892"/>
              <a:gd name="connsiteY10" fmla="*/ 295093 h 956907"/>
              <a:gd name="connsiteX11" fmla="*/ 790892 w 790892"/>
              <a:gd name="connsiteY11" fmla="*/ 364435 h 956907"/>
              <a:gd name="connsiteX12" fmla="*/ 790892 w 790892"/>
              <a:gd name="connsiteY12" fmla="*/ 942602 h 956907"/>
              <a:gd name="connsiteX13" fmla="*/ 772097 w 790892"/>
              <a:gd name="connsiteY13" fmla="*/ 956064 h 956907"/>
              <a:gd name="connsiteX14" fmla="*/ 405321 w 790892"/>
              <a:gd name="connsiteY14" fmla="*/ 830715 h 956907"/>
              <a:gd name="connsiteX15" fmla="*/ 386334 w 790892"/>
              <a:gd name="connsiteY15" fmla="*/ 830715 h 956907"/>
              <a:gd name="connsiteX16" fmla="*/ 19367 w 790892"/>
              <a:gd name="connsiteY16" fmla="*/ 956000 h 956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90892" h="956907">
                <a:moveTo>
                  <a:pt x="19304" y="956128"/>
                </a:moveTo>
                <a:cubicBezTo>
                  <a:pt x="10097" y="959303"/>
                  <a:pt x="508" y="952381"/>
                  <a:pt x="445" y="942602"/>
                </a:cubicBezTo>
                <a:cubicBezTo>
                  <a:pt x="127" y="674378"/>
                  <a:pt x="127" y="625800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9"/>
                  <a:pt x="4699" y="246642"/>
                  <a:pt x="11621" y="242261"/>
                </a:cubicBezTo>
                <a:cubicBezTo>
                  <a:pt x="64262" y="208732"/>
                  <a:pt x="288036" y="66048"/>
                  <a:pt x="388557" y="2421"/>
                </a:cubicBezTo>
                <a:cubicBezTo>
                  <a:pt x="393700" y="-818"/>
                  <a:pt x="400304" y="-818"/>
                  <a:pt x="405448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3"/>
                </a:lnTo>
                <a:cubicBezTo>
                  <a:pt x="790766" y="295093"/>
                  <a:pt x="790892" y="364435"/>
                  <a:pt x="790892" y="364435"/>
                </a:cubicBezTo>
                <a:lnTo>
                  <a:pt x="790892" y="942602"/>
                </a:lnTo>
                <a:cubicBezTo>
                  <a:pt x="790892" y="952381"/>
                  <a:pt x="781304" y="959239"/>
                  <a:pt x="772097" y="956064"/>
                </a:cubicBezTo>
                <a:lnTo>
                  <a:pt x="405321" y="830715"/>
                </a:lnTo>
                <a:cubicBezTo>
                  <a:pt x="399161" y="828619"/>
                  <a:pt x="392494" y="828619"/>
                  <a:pt x="386334" y="830715"/>
                </a:cubicBezTo>
                <a:lnTo>
                  <a:pt x="19367" y="95600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ABCF4787-01EB-C5A5-42CA-9193DEF53DE2}"/>
              </a:ext>
            </a:extLst>
          </p:cNvPr>
          <p:cNvSpPr/>
          <p:nvPr userDrawn="1"/>
        </p:nvSpPr>
        <p:spPr>
          <a:xfrm>
            <a:off x="4792916" y="6118383"/>
            <a:ext cx="790955" cy="484219"/>
          </a:xfrm>
          <a:custGeom>
            <a:avLst/>
            <a:gdLst>
              <a:gd name="connsiteX0" fmla="*/ 191 w 790955"/>
              <a:gd name="connsiteY0" fmla="*/ 366554 h 484219"/>
              <a:gd name="connsiteX1" fmla="*/ 191 w 790955"/>
              <a:gd name="connsiteY1" fmla="*/ 459835 h 484219"/>
              <a:gd name="connsiteX2" fmla="*/ 24574 w 790955"/>
              <a:gd name="connsiteY2" fmla="*/ 484220 h 484219"/>
              <a:gd name="connsiteX3" fmla="*/ 766572 w 790955"/>
              <a:gd name="connsiteY3" fmla="*/ 484220 h 484219"/>
              <a:gd name="connsiteX4" fmla="*/ 790956 w 790955"/>
              <a:gd name="connsiteY4" fmla="*/ 459835 h 484219"/>
              <a:gd name="connsiteX5" fmla="*/ 790956 w 790955"/>
              <a:gd name="connsiteY5" fmla="*/ 364458 h 484219"/>
              <a:gd name="connsiteX6" fmla="*/ 790829 w 790955"/>
              <a:gd name="connsiteY6" fmla="*/ 295116 h 484219"/>
              <a:gd name="connsiteX7" fmla="*/ 790829 w 790955"/>
              <a:gd name="connsiteY7" fmla="*/ 261334 h 484219"/>
              <a:gd name="connsiteX8" fmla="*/ 779780 w 790955"/>
              <a:gd name="connsiteY8" fmla="*/ 242602 h 484219"/>
              <a:gd name="connsiteX9" fmla="*/ 405448 w 790955"/>
              <a:gd name="connsiteY9" fmla="*/ 2508 h 484219"/>
              <a:gd name="connsiteX10" fmla="*/ 388557 w 790955"/>
              <a:gd name="connsiteY10" fmla="*/ 2445 h 484219"/>
              <a:gd name="connsiteX11" fmla="*/ 11621 w 790955"/>
              <a:gd name="connsiteY11" fmla="*/ 242284 h 484219"/>
              <a:gd name="connsiteX12" fmla="*/ 0 w 790955"/>
              <a:gd name="connsiteY12" fmla="*/ 262477 h 484219"/>
              <a:gd name="connsiteX13" fmla="*/ 0 w 790955"/>
              <a:gd name="connsiteY13" fmla="*/ 304832 h 484219"/>
              <a:gd name="connsiteX14" fmla="*/ 127 w 790955"/>
              <a:gd name="connsiteY14" fmla="*/ 366681 h 48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90955" h="484219">
                <a:moveTo>
                  <a:pt x="191" y="366554"/>
                </a:moveTo>
                <a:cubicBezTo>
                  <a:pt x="191" y="401098"/>
                  <a:pt x="191" y="431769"/>
                  <a:pt x="191" y="459835"/>
                </a:cubicBezTo>
                <a:cubicBezTo>
                  <a:pt x="191" y="473298"/>
                  <a:pt x="11113" y="484220"/>
                  <a:pt x="24574" y="484220"/>
                </a:cubicBezTo>
                <a:lnTo>
                  <a:pt x="766572" y="484220"/>
                </a:lnTo>
                <a:cubicBezTo>
                  <a:pt x="780034" y="484220"/>
                  <a:pt x="790956" y="473298"/>
                  <a:pt x="790956" y="459835"/>
                </a:cubicBezTo>
                <a:lnTo>
                  <a:pt x="790956" y="364458"/>
                </a:lnTo>
                <a:lnTo>
                  <a:pt x="790829" y="295116"/>
                </a:lnTo>
                <a:lnTo>
                  <a:pt x="790829" y="261334"/>
                </a:lnTo>
                <a:cubicBezTo>
                  <a:pt x="790194" y="253714"/>
                  <a:pt x="786257" y="246729"/>
                  <a:pt x="779780" y="242602"/>
                </a:cubicBezTo>
                <a:lnTo>
                  <a:pt x="405448" y="2508"/>
                </a:lnTo>
                <a:cubicBezTo>
                  <a:pt x="400304" y="-793"/>
                  <a:pt x="393764" y="-857"/>
                  <a:pt x="388557" y="2445"/>
                </a:cubicBezTo>
                <a:cubicBezTo>
                  <a:pt x="287973" y="66072"/>
                  <a:pt x="64262" y="208757"/>
                  <a:pt x="11621" y="242284"/>
                </a:cubicBezTo>
                <a:cubicBezTo>
                  <a:pt x="4699" y="246666"/>
                  <a:pt x="127" y="254286"/>
                  <a:pt x="0" y="262477"/>
                </a:cubicBezTo>
                <a:lnTo>
                  <a:pt x="0" y="304832"/>
                </a:lnTo>
                <a:cubicBezTo>
                  <a:pt x="0" y="304832"/>
                  <a:pt x="127" y="366681"/>
                  <a:pt x="127" y="366681"/>
                </a:cubicBez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2C2DA96A-8EB4-5F7A-1562-93CA3FC83416}"/>
              </a:ext>
            </a:extLst>
          </p:cNvPr>
          <p:cNvSpPr/>
          <p:nvPr userDrawn="1"/>
        </p:nvSpPr>
        <p:spPr>
          <a:xfrm>
            <a:off x="5700585" y="5639998"/>
            <a:ext cx="790892" cy="962541"/>
          </a:xfrm>
          <a:custGeom>
            <a:avLst/>
            <a:gdLst>
              <a:gd name="connsiteX0" fmla="*/ 676211 w 790892"/>
              <a:gd name="connsiteY0" fmla="*/ 962478 h 962541"/>
              <a:gd name="connsiteX1" fmla="*/ 24892 w 790892"/>
              <a:gd name="connsiteY1" fmla="*/ 962478 h 962541"/>
              <a:gd name="connsiteX2" fmla="*/ 445 w 790892"/>
              <a:gd name="connsiteY2" fmla="*/ 938030 h 962541"/>
              <a:gd name="connsiteX3" fmla="*/ 127 w 790892"/>
              <a:gd name="connsiteY3" fmla="*/ 366593 h 962541"/>
              <a:gd name="connsiteX4" fmla="*/ 0 w 790892"/>
              <a:gd name="connsiteY4" fmla="*/ 304744 h 962541"/>
              <a:gd name="connsiteX5" fmla="*/ 0 w 790892"/>
              <a:gd name="connsiteY5" fmla="*/ 262390 h 962541"/>
              <a:gd name="connsiteX6" fmla="*/ 11621 w 790892"/>
              <a:gd name="connsiteY6" fmla="*/ 242261 h 962541"/>
              <a:gd name="connsiteX7" fmla="*/ 388557 w 790892"/>
              <a:gd name="connsiteY7" fmla="*/ 2421 h 962541"/>
              <a:gd name="connsiteX8" fmla="*/ 405448 w 790892"/>
              <a:gd name="connsiteY8" fmla="*/ 2485 h 962541"/>
              <a:gd name="connsiteX9" fmla="*/ 779780 w 790892"/>
              <a:gd name="connsiteY9" fmla="*/ 242578 h 962541"/>
              <a:gd name="connsiteX10" fmla="*/ 790766 w 790892"/>
              <a:gd name="connsiteY10" fmla="*/ 261311 h 962541"/>
              <a:gd name="connsiteX11" fmla="*/ 790766 w 790892"/>
              <a:gd name="connsiteY11" fmla="*/ 295092 h 962541"/>
              <a:gd name="connsiteX12" fmla="*/ 790893 w 790892"/>
              <a:gd name="connsiteY12" fmla="*/ 364435 h 962541"/>
              <a:gd name="connsiteX13" fmla="*/ 790893 w 790892"/>
              <a:gd name="connsiteY13" fmla="*/ 938157 h 962541"/>
              <a:gd name="connsiteX14" fmla="*/ 766509 w 790892"/>
              <a:gd name="connsiteY14" fmla="*/ 962541 h 962541"/>
              <a:gd name="connsiteX15" fmla="*/ 676211 w 790892"/>
              <a:gd name="connsiteY15" fmla="*/ 962541 h 96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90892" h="962541">
                <a:moveTo>
                  <a:pt x="676211" y="962478"/>
                </a:moveTo>
                <a:lnTo>
                  <a:pt x="24892" y="962478"/>
                </a:lnTo>
                <a:cubicBezTo>
                  <a:pt x="11493" y="962478"/>
                  <a:pt x="445" y="951429"/>
                  <a:pt x="445" y="938030"/>
                </a:cubicBezTo>
                <a:cubicBezTo>
                  <a:pt x="127" y="673806"/>
                  <a:pt x="127" y="624277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8"/>
                  <a:pt x="4699" y="246642"/>
                  <a:pt x="11621" y="242261"/>
                </a:cubicBezTo>
                <a:cubicBezTo>
                  <a:pt x="64262" y="208732"/>
                  <a:pt x="288036" y="66048"/>
                  <a:pt x="388557" y="2421"/>
                </a:cubicBezTo>
                <a:cubicBezTo>
                  <a:pt x="393700" y="-818"/>
                  <a:pt x="400304" y="-818"/>
                  <a:pt x="405448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2"/>
                </a:lnTo>
                <a:cubicBezTo>
                  <a:pt x="790766" y="295092"/>
                  <a:pt x="790893" y="364435"/>
                  <a:pt x="790893" y="364435"/>
                </a:cubicBezTo>
                <a:lnTo>
                  <a:pt x="790893" y="938157"/>
                </a:lnTo>
                <a:cubicBezTo>
                  <a:pt x="790893" y="951619"/>
                  <a:pt x="779971" y="962541"/>
                  <a:pt x="766509" y="962541"/>
                </a:cubicBezTo>
                <a:lnTo>
                  <a:pt x="676211" y="962541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6EEB0527-5F86-728D-D189-544B223C9C2F}"/>
              </a:ext>
            </a:extLst>
          </p:cNvPr>
          <p:cNvSpPr/>
          <p:nvPr userDrawn="1"/>
        </p:nvSpPr>
        <p:spPr>
          <a:xfrm>
            <a:off x="7515732" y="5639998"/>
            <a:ext cx="790892" cy="962541"/>
          </a:xfrm>
          <a:custGeom>
            <a:avLst/>
            <a:gdLst>
              <a:gd name="connsiteX0" fmla="*/ 676211 w 790892"/>
              <a:gd name="connsiteY0" fmla="*/ 962478 h 962541"/>
              <a:gd name="connsiteX1" fmla="*/ 24892 w 790892"/>
              <a:gd name="connsiteY1" fmla="*/ 962478 h 962541"/>
              <a:gd name="connsiteX2" fmla="*/ 445 w 790892"/>
              <a:gd name="connsiteY2" fmla="*/ 938030 h 962541"/>
              <a:gd name="connsiteX3" fmla="*/ 127 w 790892"/>
              <a:gd name="connsiteY3" fmla="*/ 366593 h 962541"/>
              <a:gd name="connsiteX4" fmla="*/ 0 w 790892"/>
              <a:gd name="connsiteY4" fmla="*/ 304744 h 962541"/>
              <a:gd name="connsiteX5" fmla="*/ 0 w 790892"/>
              <a:gd name="connsiteY5" fmla="*/ 262390 h 962541"/>
              <a:gd name="connsiteX6" fmla="*/ 11621 w 790892"/>
              <a:gd name="connsiteY6" fmla="*/ 242261 h 962541"/>
              <a:gd name="connsiteX7" fmla="*/ 388557 w 790892"/>
              <a:gd name="connsiteY7" fmla="*/ 2421 h 962541"/>
              <a:gd name="connsiteX8" fmla="*/ 405448 w 790892"/>
              <a:gd name="connsiteY8" fmla="*/ 2485 h 962541"/>
              <a:gd name="connsiteX9" fmla="*/ 779780 w 790892"/>
              <a:gd name="connsiteY9" fmla="*/ 242578 h 962541"/>
              <a:gd name="connsiteX10" fmla="*/ 790766 w 790892"/>
              <a:gd name="connsiteY10" fmla="*/ 261311 h 962541"/>
              <a:gd name="connsiteX11" fmla="*/ 790766 w 790892"/>
              <a:gd name="connsiteY11" fmla="*/ 295092 h 962541"/>
              <a:gd name="connsiteX12" fmla="*/ 790893 w 790892"/>
              <a:gd name="connsiteY12" fmla="*/ 364435 h 962541"/>
              <a:gd name="connsiteX13" fmla="*/ 790893 w 790892"/>
              <a:gd name="connsiteY13" fmla="*/ 938157 h 962541"/>
              <a:gd name="connsiteX14" fmla="*/ 766509 w 790892"/>
              <a:gd name="connsiteY14" fmla="*/ 962541 h 962541"/>
              <a:gd name="connsiteX15" fmla="*/ 676211 w 790892"/>
              <a:gd name="connsiteY15" fmla="*/ 962541 h 96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90892" h="962541">
                <a:moveTo>
                  <a:pt x="676211" y="962478"/>
                </a:moveTo>
                <a:lnTo>
                  <a:pt x="24892" y="962478"/>
                </a:lnTo>
                <a:cubicBezTo>
                  <a:pt x="11494" y="962478"/>
                  <a:pt x="445" y="951429"/>
                  <a:pt x="445" y="938030"/>
                </a:cubicBezTo>
                <a:cubicBezTo>
                  <a:pt x="127" y="673806"/>
                  <a:pt x="127" y="624277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8"/>
                  <a:pt x="4699" y="246642"/>
                  <a:pt x="11621" y="242261"/>
                </a:cubicBezTo>
                <a:cubicBezTo>
                  <a:pt x="64262" y="208732"/>
                  <a:pt x="288036" y="66048"/>
                  <a:pt x="388557" y="2421"/>
                </a:cubicBezTo>
                <a:cubicBezTo>
                  <a:pt x="393700" y="-818"/>
                  <a:pt x="400304" y="-818"/>
                  <a:pt x="405448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2"/>
                </a:lnTo>
                <a:cubicBezTo>
                  <a:pt x="790766" y="295092"/>
                  <a:pt x="790893" y="364435"/>
                  <a:pt x="790893" y="364435"/>
                </a:cubicBezTo>
                <a:lnTo>
                  <a:pt x="790893" y="938157"/>
                </a:lnTo>
                <a:cubicBezTo>
                  <a:pt x="790893" y="951619"/>
                  <a:pt x="779971" y="962541"/>
                  <a:pt x="766509" y="962541"/>
                </a:cubicBezTo>
                <a:lnTo>
                  <a:pt x="676211" y="962541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68C9E6F5-A3FB-668F-8A7E-E430AF8B5A68}"/>
              </a:ext>
            </a:extLst>
          </p:cNvPr>
          <p:cNvSpPr/>
          <p:nvPr userDrawn="1"/>
        </p:nvSpPr>
        <p:spPr>
          <a:xfrm>
            <a:off x="9330880" y="5639998"/>
            <a:ext cx="790892" cy="962541"/>
          </a:xfrm>
          <a:custGeom>
            <a:avLst/>
            <a:gdLst>
              <a:gd name="connsiteX0" fmla="*/ 676211 w 790892"/>
              <a:gd name="connsiteY0" fmla="*/ 962478 h 962541"/>
              <a:gd name="connsiteX1" fmla="*/ 24892 w 790892"/>
              <a:gd name="connsiteY1" fmla="*/ 962478 h 962541"/>
              <a:gd name="connsiteX2" fmla="*/ 444 w 790892"/>
              <a:gd name="connsiteY2" fmla="*/ 938030 h 962541"/>
              <a:gd name="connsiteX3" fmla="*/ 126 w 790892"/>
              <a:gd name="connsiteY3" fmla="*/ 366593 h 962541"/>
              <a:gd name="connsiteX4" fmla="*/ 0 w 790892"/>
              <a:gd name="connsiteY4" fmla="*/ 304744 h 962541"/>
              <a:gd name="connsiteX5" fmla="*/ 0 w 790892"/>
              <a:gd name="connsiteY5" fmla="*/ 262390 h 962541"/>
              <a:gd name="connsiteX6" fmla="*/ 11620 w 790892"/>
              <a:gd name="connsiteY6" fmla="*/ 242261 h 962541"/>
              <a:gd name="connsiteX7" fmla="*/ 388556 w 790892"/>
              <a:gd name="connsiteY7" fmla="*/ 2421 h 962541"/>
              <a:gd name="connsiteX8" fmla="*/ 405447 w 790892"/>
              <a:gd name="connsiteY8" fmla="*/ 2485 h 962541"/>
              <a:gd name="connsiteX9" fmla="*/ 779780 w 790892"/>
              <a:gd name="connsiteY9" fmla="*/ 242578 h 962541"/>
              <a:gd name="connsiteX10" fmla="*/ 790765 w 790892"/>
              <a:gd name="connsiteY10" fmla="*/ 261311 h 962541"/>
              <a:gd name="connsiteX11" fmla="*/ 790765 w 790892"/>
              <a:gd name="connsiteY11" fmla="*/ 295092 h 962541"/>
              <a:gd name="connsiteX12" fmla="*/ 790892 w 790892"/>
              <a:gd name="connsiteY12" fmla="*/ 364435 h 962541"/>
              <a:gd name="connsiteX13" fmla="*/ 790892 w 790892"/>
              <a:gd name="connsiteY13" fmla="*/ 938157 h 962541"/>
              <a:gd name="connsiteX14" fmla="*/ 766508 w 790892"/>
              <a:gd name="connsiteY14" fmla="*/ 962541 h 962541"/>
              <a:gd name="connsiteX15" fmla="*/ 676211 w 790892"/>
              <a:gd name="connsiteY15" fmla="*/ 962541 h 96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90892" h="962541">
                <a:moveTo>
                  <a:pt x="676211" y="962478"/>
                </a:moveTo>
                <a:lnTo>
                  <a:pt x="24892" y="962478"/>
                </a:lnTo>
                <a:cubicBezTo>
                  <a:pt x="11493" y="962478"/>
                  <a:pt x="444" y="951429"/>
                  <a:pt x="444" y="938030"/>
                </a:cubicBezTo>
                <a:cubicBezTo>
                  <a:pt x="126" y="673806"/>
                  <a:pt x="126" y="624277"/>
                  <a:pt x="126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6" y="254198"/>
                  <a:pt x="4699" y="246642"/>
                  <a:pt x="11620" y="242261"/>
                </a:cubicBezTo>
                <a:cubicBezTo>
                  <a:pt x="64262" y="208732"/>
                  <a:pt x="288036" y="66048"/>
                  <a:pt x="388556" y="2421"/>
                </a:cubicBezTo>
                <a:cubicBezTo>
                  <a:pt x="393700" y="-818"/>
                  <a:pt x="400303" y="-818"/>
                  <a:pt x="405447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5" y="261311"/>
                </a:cubicBezTo>
                <a:lnTo>
                  <a:pt x="790765" y="295092"/>
                </a:lnTo>
                <a:cubicBezTo>
                  <a:pt x="790765" y="295092"/>
                  <a:pt x="790892" y="364435"/>
                  <a:pt x="790892" y="364435"/>
                </a:cubicBezTo>
                <a:lnTo>
                  <a:pt x="790892" y="938157"/>
                </a:lnTo>
                <a:cubicBezTo>
                  <a:pt x="790892" y="951619"/>
                  <a:pt x="779970" y="962541"/>
                  <a:pt x="766508" y="962541"/>
                </a:cubicBezTo>
                <a:lnTo>
                  <a:pt x="676211" y="962541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0" name="Freeform 19">
            <a:extLst>
              <a:ext uri="{FF2B5EF4-FFF2-40B4-BE49-F238E27FC236}">
                <a16:creationId xmlns:a16="http://schemas.microsoft.com/office/drawing/2014/main" id="{339A6F9B-BEAD-98DE-6B9E-C91FEE012FF5}"/>
              </a:ext>
            </a:extLst>
          </p:cNvPr>
          <p:cNvSpPr/>
          <p:nvPr userDrawn="1"/>
        </p:nvSpPr>
        <p:spPr>
          <a:xfrm>
            <a:off x="11146028" y="5639998"/>
            <a:ext cx="790892" cy="962541"/>
          </a:xfrm>
          <a:custGeom>
            <a:avLst/>
            <a:gdLst>
              <a:gd name="connsiteX0" fmla="*/ 676211 w 790892"/>
              <a:gd name="connsiteY0" fmla="*/ 962478 h 962541"/>
              <a:gd name="connsiteX1" fmla="*/ 24892 w 790892"/>
              <a:gd name="connsiteY1" fmla="*/ 962478 h 962541"/>
              <a:gd name="connsiteX2" fmla="*/ 444 w 790892"/>
              <a:gd name="connsiteY2" fmla="*/ 938030 h 962541"/>
              <a:gd name="connsiteX3" fmla="*/ 127 w 790892"/>
              <a:gd name="connsiteY3" fmla="*/ 366593 h 962541"/>
              <a:gd name="connsiteX4" fmla="*/ 0 w 790892"/>
              <a:gd name="connsiteY4" fmla="*/ 304744 h 962541"/>
              <a:gd name="connsiteX5" fmla="*/ 0 w 790892"/>
              <a:gd name="connsiteY5" fmla="*/ 262390 h 962541"/>
              <a:gd name="connsiteX6" fmla="*/ 11620 w 790892"/>
              <a:gd name="connsiteY6" fmla="*/ 242261 h 962541"/>
              <a:gd name="connsiteX7" fmla="*/ 388556 w 790892"/>
              <a:gd name="connsiteY7" fmla="*/ 2421 h 962541"/>
              <a:gd name="connsiteX8" fmla="*/ 405447 w 790892"/>
              <a:gd name="connsiteY8" fmla="*/ 2485 h 962541"/>
              <a:gd name="connsiteX9" fmla="*/ 779780 w 790892"/>
              <a:gd name="connsiteY9" fmla="*/ 242578 h 962541"/>
              <a:gd name="connsiteX10" fmla="*/ 790766 w 790892"/>
              <a:gd name="connsiteY10" fmla="*/ 261311 h 962541"/>
              <a:gd name="connsiteX11" fmla="*/ 790766 w 790892"/>
              <a:gd name="connsiteY11" fmla="*/ 295092 h 962541"/>
              <a:gd name="connsiteX12" fmla="*/ 790892 w 790892"/>
              <a:gd name="connsiteY12" fmla="*/ 364435 h 962541"/>
              <a:gd name="connsiteX13" fmla="*/ 790892 w 790892"/>
              <a:gd name="connsiteY13" fmla="*/ 938157 h 962541"/>
              <a:gd name="connsiteX14" fmla="*/ 766508 w 790892"/>
              <a:gd name="connsiteY14" fmla="*/ 962541 h 962541"/>
              <a:gd name="connsiteX15" fmla="*/ 676211 w 790892"/>
              <a:gd name="connsiteY15" fmla="*/ 962541 h 96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90892" h="962541">
                <a:moveTo>
                  <a:pt x="676211" y="962478"/>
                </a:moveTo>
                <a:lnTo>
                  <a:pt x="24892" y="962478"/>
                </a:lnTo>
                <a:cubicBezTo>
                  <a:pt x="11493" y="962478"/>
                  <a:pt x="444" y="951429"/>
                  <a:pt x="444" y="938030"/>
                </a:cubicBezTo>
                <a:cubicBezTo>
                  <a:pt x="127" y="673806"/>
                  <a:pt x="127" y="624277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8"/>
                  <a:pt x="4699" y="246642"/>
                  <a:pt x="11620" y="242261"/>
                </a:cubicBezTo>
                <a:cubicBezTo>
                  <a:pt x="64262" y="208732"/>
                  <a:pt x="288036" y="66048"/>
                  <a:pt x="388556" y="2421"/>
                </a:cubicBezTo>
                <a:cubicBezTo>
                  <a:pt x="393700" y="-818"/>
                  <a:pt x="400303" y="-818"/>
                  <a:pt x="405447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2"/>
                </a:lnTo>
                <a:cubicBezTo>
                  <a:pt x="790766" y="295092"/>
                  <a:pt x="790892" y="364435"/>
                  <a:pt x="790892" y="364435"/>
                </a:cubicBezTo>
                <a:lnTo>
                  <a:pt x="790892" y="938157"/>
                </a:lnTo>
                <a:cubicBezTo>
                  <a:pt x="790892" y="951619"/>
                  <a:pt x="779970" y="962541"/>
                  <a:pt x="766508" y="962541"/>
                </a:cubicBezTo>
                <a:lnTo>
                  <a:pt x="676211" y="962541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736F9CCE-AF86-4459-AF4B-A349EA2BA51D}"/>
              </a:ext>
            </a:extLst>
          </p:cNvPr>
          <p:cNvSpPr/>
          <p:nvPr userDrawn="1"/>
        </p:nvSpPr>
        <p:spPr>
          <a:xfrm>
            <a:off x="6608127" y="5161335"/>
            <a:ext cx="790892" cy="956907"/>
          </a:xfrm>
          <a:custGeom>
            <a:avLst/>
            <a:gdLst>
              <a:gd name="connsiteX0" fmla="*/ 19303 w 790892"/>
              <a:gd name="connsiteY0" fmla="*/ 956128 h 956907"/>
              <a:gd name="connsiteX1" fmla="*/ 444 w 790892"/>
              <a:gd name="connsiteY1" fmla="*/ 942602 h 956907"/>
              <a:gd name="connsiteX2" fmla="*/ 127 w 790892"/>
              <a:gd name="connsiteY2" fmla="*/ 366593 h 956907"/>
              <a:gd name="connsiteX3" fmla="*/ 0 w 790892"/>
              <a:gd name="connsiteY3" fmla="*/ 304744 h 956907"/>
              <a:gd name="connsiteX4" fmla="*/ 0 w 790892"/>
              <a:gd name="connsiteY4" fmla="*/ 262390 h 956907"/>
              <a:gd name="connsiteX5" fmla="*/ 11620 w 790892"/>
              <a:gd name="connsiteY5" fmla="*/ 242261 h 956907"/>
              <a:gd name="connsiteX6" fmla="*/ 388556 w 790892"/>
              <a:gd name="connsiteY6" fmla="*/ 2421 h 956907"/>
              <a:gd name="connsiteX7" fmla="*/ 405447 w 790892"/>
              <a:gd name="connsiteY7" fmla="*/ 2485 h 956907"/>
              <a:gd name="connsiteX8" fmla="*/ 779780 w 790892"/>
              <a:gd name="connsiteY8" fmla="*/ 242578 h 956907"/>
              <a:gd name="connsiteX9" fmla="*/ 790766 w 790892"/>
              <a:gd name="connsiteY9" fmla="*/ 261311 h 956907"/>
              <a:gd name="connsiteX10" fmla="*/ 790766 w 790892"/>
              <a:gd name="connsiteY10" fmla="*/ 295093 h 956907"/>
              <a:gd name="connsiteX11" fmla="*/ 790892 w 790892"/>
              <a:gd name="connsiteY11" fmla="*/ 364435 h 956907"/>
              <a:gd name="connsiteX12" fmla="*/ 790892 w 790892"/>
              <a:gd name="connsiteY12" fmla="*/ 942602 h 956907"/>
              <a:gd name="connsiteX13" fmla="*/ 772096 w 790892"/>
              <a:gd name="connsiteY13" fmla="*/ 956064 h 956907"/>
              <a:gd name="connsiteX14" fmla="*/ 405320 w 790892"/>
              <a:gd name="connsiteY14" fmla="*/ 830715 h 956907"/>
              <a:gd name="connsiteX15" fmla="*/ 386334 w 790892"/>
              <a:gd name="connsiteY15" fmla="*/ 830715 h 956907"/>
              <a:gd name="connsiteX16" fmla="*/ 19367 w 790892"/>
              <a:gd name="connsiteY16" fmla="*/ 956000 h 956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90892" h="956907">
                <a:moveTo>
                  <a:pt x="19303" y="956128"/>
                </a:moveTo>
                <a:cubicBezTo>
                  <a:pt x="10096" y="959303"/>
                  <a:pt x="508" y="952381"/>
                  <a:pt x="444" y="942602"/>
                </a:cubicBezTo>
                <a:cubicBezTo>
                  <a:pt x="127" y="674378"/>
                  <a:pt x="127" y="625800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9"/>
                  <a:pt x="4699" y="246642"/>
                  <a:pt x="11620" y="242261"/>
                </a:cubicBezTo>
                <a:cubicBezTo>
                  <a:pt x="64262" y="208732"/>
                  <a:pt x="288036" y="66048"/>
                  <a:pt x="388556" y="2421"/>
                </a:cubicBezTo>
                <a:cubicBezTo>
                  <a:pt x="393700" y="-818"/>
                  <a:pt x="400303" y="-818"/>
                  <a:pt x="405447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3"/>
                </a:lnTo>
                <a:cubicBezTo>
                  <a:pt x="790766" y="295093"/>
                  <a:pt x="790892" y="364435"/>
                  <a:pt x="790892" y="364435"/>
                </a:cubicBezTo>
                <a:lnTo>
                  <a:pt x="790892" y="942602"/>
                </a:lnTo>
                <a:cubicBezTo>
                  <a:pt x="790892" y="952381"/>
                  <a:pt x="781304" y="959239"/>
                  <a:pt x="772096" y="956064"/>
                </a:cubicBezTo>
                <a:lnTo>
                  <a:pt x="405320" y="830715"/>
                </a:lnTo>
                <a:cubicBezTo>
                  <a:pt x="399161" y="828619"/>
                  <a:pt x="392493" y="828619"/>
                  <a:pt x="386334" y="830715"/>
                </a:cubicBezTo>
                <a:lnTo>
                  <a:pt x="19367" y="95600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4BA2C016-DFBE-036F-D55F-0D3B6F512724}"/>
              </a:ext>
            </a:extLst>
          </p:cNvPr>
          <p:cNvSpPr/>
          <p:nvPr userDrawn="1"/>
        </p:nvSpPr>
        <p:spPr>
          <a:xfrm>
            <a:off x="6608064" y="6118383"/>
            <a:ext cx="790955" cy="484219"/>
          </a:xfrm>
          <a:custGeom>
            <a:avLst/>
            <a:gdLst>
              <a:gd name="connsiteX0" fmla="*/ 191 w 790955"/>
              <a:gd name="connsiteY0" fmla="*/ 366554 h 484219"/>
              <a:gd name="connsiteX1" fmla="*/ 191 w 790955"/>
              <a:gd name="connsiteY1" fmla="*/ 459835 h 484219"/>
              <a:gd name="connsiteX2" fmla="*/ 24574 w 790955"/>
              <a:gd name="connsiteY2" fmla="*/ 484220 h 484219"/>
              <a:gd name="connsiteX3" fmla="*/ 766572 w 790955"/>
              <a:gd name="connsiteY3" fmla="*/ 484220 h 484219"/>
              <a:gd name="connsiteX4" fmla="*/ 790956 w 790955"/>
              <a:gd name="connsiteY4" fmla="*/ 459835 h 484219"/>
              <a:gd name="connsiteX5" fmla="*/ 790956 w 790955"/>
              <a:gd name="connsiteY5" fmla="*/ 364458 h 484219"/>
              <a:gd name="connsiteX6" fmla="*/ 790829 w 790955"/>
              <a:gd name="connsiteY6" fmla="*/ 295116 h 484219"/>
              <a:gd name="connsiteX7" fmla="*/ 790829 w 790955"/>
              <a:gd name="connsiteY7" fmla="*/ 261334 h 484219"/>
              <a:gd name="connsiteX8" fmla="*/ 779780 w 790955"/>
              <a:gd name="connsiteY8" fmla="*/ 242602 h 484219"/>
              <a:gd name="connsiteX9" fmla="*/ 405447 w 790955"/>
              <a:gd name="connsiteY9" fmla="*/ 2508 h 484219"/>
              <a:gd name="connsiteX10" fmla="*/ 388556 w 790955"/>
              <a:gd name="connsiteY10" fmla="*/ 2445 h 484219"/>
              <a:gd name="connsiteX11" fmla="*/ 11620 w 790955"/>
              <a:gd name="connsiteY11" fmla="*/ 242284 h 484219"/>
              <a:gd name="connsiteX12" fmla="*/ 0 w 790955"/>
              <a:gd name="connsiteY12" fmla="*/ 262477 h 484219"/>
              <a:gd name="connsiteX13" fmla="*/ 0 w 790955"/>
              <a:gd name="connsiteY13" fmla="*/ 304832 h 484219"/>
              <a:gd name="connsiteX14" fmla="*/ 127 w 790955"/>
              <a:gd name="connsiteY14" fmla="*/ 366681 h 48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90955" h="484219">
                <a:moveTo>
                  <a:pt x="191" y="366554"/>
                </a:moveTo>
                <a:cubicBezTo>
                  <a:pt x="191" y="401098"/>
                  <a:pt x="191" y="431769"/>
                  <a:pt x="191" y="459835"/>
                </a:cubicBezTo>
                <a:cubicBezTo>
                  <a:pt x="191" y="473298"/>
                  <a:pt x="11113" y="484220"/>
                  <a:pt x="24574" y="484220"/>
                </a:cubicBezTo>
                <a:lnTo>
                  <a:pt x="766572" y="484220"/>
                </a:lnTo>
                <a:cubicBezTo>
                  <a:pt x="780034" y="484220"/>
                  <a:pt x="790956" y="473298"/>
                  <a:pt x="790956" y="459835"/>
                </a:cubicBezTo>
                <a:lnTo>
                  <a:pt x="790956" y="364458"/>
                </a:lnTo>
                <a:lnTo>
                  <a:pt x="790829" y="295116"/>
                </a:lnTo>
                <a:lnTo>
                  <a:pt x="790829" y="261334"/>
                </a:lnTo>
                <a:cubicBezTo>
                  <a:pt x="790194" y="253714"/>
                  <a:pt x="786257" y="246729"/>
                  <a:pt x="779780" y="242602"/>
                </a:cubicBezTo>
                <a:lnTo>
                  <a:pt x="405447" y="2508"/>
                </a:lnTo>
                <a:cubicBezTo>
                  <a:pt x="400304" y="-793"/>
                  <a:pt x="393764" y="-857"/>
                  <a:pt x="388556" y="2445"/>
                </a:cubicBezTo>
                <a:cubicBezTo>
                  <a:pt x="287972" y="66072"/>
                  <a:pt x="64262" y="208757"/>
                  <a:pt x="11620" y="242284"/>
                </a:cubicBezTo>
                <a:cubicBezTo>
                  <a:pt x="4699" y="246666"/>
                  <a:pt x="127" y="254286"/>
                  <a:pt x="0" y="262477"/>
                </a:cubicBezTo>
                <a:lnTo>
                  <a:pt x="0" y="304832"/>
                </a:lnTo>
                <a:cubicBezTo>
                  <a:pt x="0" y="304832"/>
                  <a:pt x="127" y="366681"/>
                  <a:pt x="127" y="366681"/>
                </a:cubicBez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601B30C1-2EEE-ED01-88E2-F81D2B982EC3}"/>
              </a:ext>
            </a:extLst>
          </p:cNvPr>
          <p:cNvSpPr/>
          <p:nvPr userDrawn="1"/>
        </p:nvSpPr>
        <p:spPr>
          <a:xfrm>
            <a:off x="8423275" y="5161335"/>
            <a:ext cx="790892" cy="956907"/>
          </a:xfrm>
          <a:custGeom>
            <a:avLst/>
            <a:gdLst>
              <a:gd name="connsiteX0" fmla="*/ 19304 w 790892"/>
              <a:gd name="connsiteY0" fmla="*/ 956128 h 956907"/>
              <a:gd name="connsiteX1" fmla="*/ 444 w 790892"/>
              <a:gd name="connsiteY1" fmla="*/ 942602 h 956907"/>
              <a:gd name="connsiteX2" fmla="*/ 127 w 790892"/>
              <a:gd name="connsiteY2" fmla="*/ 366593 h 956907"/>
              <a:gd name="connsiteX3" fmla="*/ 0 w 790892"/>
              <a:gd name="connsiteY3" fmla="*/ 304744 h 956907"/>
              <a:gd name="connsiteX4" fmla="*/ 0 w 790892"/>
              <a:gd name="connsiteY4" fmla="*/ 262390 h 956907"/>
              <a:gd name="connsiteX5" fmla="*/ 11620 w 790892"/>
              <a:gd name="connsiteY5" fmla="*/ 242261 h 956907"/>
              <a:gd name="connsiteX6" fmla="*/ 388556 w 790892"/>
              <a:gd name="connsiteY6" fmla="*/ 2421 h 956907"/>
              <a:gd name="connsiteX7" fmla="*/ 405447 w 790892"/>
              <a:gd name="connsiteY7" fmla="*/ 2485 h 956907"/>
              <a:gd name="connsiteX8" fmla="*/ 779780 w 790892"/>
              <a:gd name="connsiteY8" fmla="*/ 242578 h 956907"/>
              <a:gd name="connsiteX9" fmla="*/ 790766 w 790892"/>
              <a:gd name="connsiteY9" fmla="*/ 261311 h 956907"/>
              <a:gd name="connsiteX10" fmla="*/ 790766 w 790892"/>
              <a:gd name="connsiteY10" fmla="*/ 295093 h 956907"/>
              <a:gd name="connsiteX11" fmla="*/ 790893 w 790892"/>
              <a:gd name="connsiteY11" fmla="*/ 364435 h 956907"/>
              <a:gd name="connsiteX12" fmla="*/ 790893 w 790892"/>
              <a:gd name="connsiteY12" fmla="*/ 942602 h 956907"/>
              <a:gd name="connsiteX13" fmla="*/ 772096 w 790892"/>
              <a:gd name="connsiteY13" fmla="*/ 956064 h 956907"/>
              <a:gd name="connsiteX14" fmla="*/ 405320 w 790892"/>
              <a:gd name="connsiteY14" fmla="*/ 830715 h 956907"/>
              <a:gd name="connsiteX15" fmla="*/ 386334 w 790892"/>
              <a:gd name="connsiteY15" fmla="*/ 830715 h 956907"/>
              <a:gd name="connsiteX16" fmla="*/ 19368 w 790892"/>
              <a:gd name="connsiteY16" fmla="*/ 956000 h 956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90892" h="956907">
                <a:moveTo>
                  <a:pt x="19304" y="956128"/>
                </a:moveTo>
                <a:cubicBezTo>
                  <a:pt x="10096" y="959303"/>
                  <a:pt x="508" y="952381"/>
                  <a:pt x="444" y="942602"/>
                </a:cubicBezTo>
                <a:cubicBezTo>
                  <a:pt x="127" y="674378"/>
                  <a:pt x="127" y="625800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9"/>
                  <a:pt x="4699" y="246642"/>
                  <a:pt x="11620" y="242261"/>
                </a:cubicBezTo>
                <a:cubicBezTo>
                  <a:pt x="64262" y="208732"/>
                  <a:pt x="288036" y="66048"/>
                  <a:pt x="388556" y="2421"/>
                </a:cubicBezTo>
                <a:cubicBezTo>
                  <a:pt x="393700" y="-818"/>
                  <a:pt x="400304" y="-818"/>
                  <a:pt x="405447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3"/>
                </a:lnTo>
                <a:cubicBezTo>
                  <a:pt x="790766" y="295093"/>
                  <a:pt x="790893" y="364435"/>
                  <a:pt x="790893" y="364435"/>
                </a:cubicBezTo>
                <a:lnTo>
                  <a:pt x="790893" y="942602"/>
                </a:lnTo>
                <a:cubicBezTo>
                  <a:pt x="790893" y="952381"/>
                  <a:pt x="781304" y="959239"/>
                  <a:pt x="772096" y="956064"/>
                </a:cubicBezTo>
                <a:lnTo>
                  <a:pt x="405320" y="830715"/>
                </a:lnTo>
                <a:cubicBezTo>
                  <a:pt x="399161" y="828619"/>
                  <a:pt x="392494" y="828619"/>
                  <a:pt x="386334" y="830715"/>
                </a:cubicBezTo>
                <a:lnTo>
                  <a:pt x="19368" y="95600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" name="Freeform 24">
            <a:extLst>
              <a:ext uri="{FF2B5EF4-FFF2-40B4-BE49-F238E27FC236}">
                <a16:creationId xmlns:a16="http://schemas.microsoft.com/office/drawing/2014/main" id="{5CFDF558-3143-CA8F-F073-C9540BED65F8}"/>
              </a:ext>
            </a:extLst>
          </p:cNvPr>
          <p:cNvSpPr/>
          <p:nvPr userDrawn="1"/>
        </p:nvSpPr>
        <p:spPr>
          <a:xfrm>
            <a:off x="8423211" y="6118383"/>
            <a:ext cx="790956" cy="484219"/>
          </a:xfrm>
          <a:custGeom>
            <a:avLst/>
            <a:gdLst>
              <a:gd name="connsiteX0" fmla="*/ 191 w 790956"/>
              <a:gd name="connsiteY0" fmla="*/ 366554 h 484219"/>
              <a:gd name="connsiteX1" fmla="*/ 191 w 790956"/>
              <a:gd name="connsiteY1" fmla="*/ 459835 h 484219"/>
              <a:gd name="connsiteX2" fmla="*/ 24574 w 790956"/>
              <a:gd name="connsiteY2" fmla="*/ 484220 h 484219"/>
              <a:gd name="connsiteX3" fmla="*/ 766572 w 790956"/>
              <a:gd name="connsiteY3" fmla="*/ 484220 h 484219"/>
              <a:gd name="connsiteX4" fmla="*/ 790956 w 790956"/>
              <a:gd name="connsiteY4" fmla="*/ 459835 h 484219"/>
              <a:gd name="connsiteX5" fmla="*/ 790956 w 790956"/>
              <a:gd name="connsiteY5" fmla="*/ 364458 h 484219"/>
              <a:gd name="connsiteX6" fmla="*/ 790829 w 790956"/>
              <a:gd name="connsiteY6" fmla="*/ 295116 h 484219"/>
              <a:gd name="connsiteX7" fmla="*/ 790829 w 790956"/>
              <a:gd name="connsiteY7" fmla="*/ 261334 h 484219"/>
              <a:gd name="connsiteX8" fmla="*/ 779780 w 790956"/>
              <a:gd name="connsiteY8" fmla="*/ 242602 h 484219"/>
              <a:gd name="connsiteX9" fmla="*/ 405447 w 790956"/>
              <a:gd name="connsiteY9" fmla="*/ 2508 h 484219"/>
              <a:gd name="connsiteX10" fmla="*/ 388557 w 790956"/>
              <a:gd name="connsiteY10" fmla="*/ 2445 h 484219"/>
              <a:gd name="connsiteX11" fmla="*/ 11620 w 790956"/>
              <a:gd name="connsiteY11" fmla="*/ 242284 h 484219"/>
              <a:gd name="connsiteX12" fmla="*/ 0 w 790956"/>
              <a:gd name="connsiteY12" fmla="*/ 262477 h 484219"/>
              <a:gd name="connsiteX13" fmla="*/ 0 w 790956"/>
              <a:gd name="connsiteY13" fmla="*/ 304832 h 484219"/>
              <a:gd name="connsiteX14" fmla="*/ 127 w 790956"/>
              <a:gd name="connsiteY14" fmla="*/ 366681 h 48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90956" h="484219">
                <a:moveTo>
                  <a:pt x="191" y="366554"/>
                </a:moveTo>
                <a:cubicBezTo>
                  <a:pt x="191" y="401098"/>
                  <a:pt x="191" y="431769"/>
                  <a:pt x="191" y="459835"/>
                </a:cubicBezTo>
                <a:cubicBezTo>
                  <a:pt x="191" y="473298"/>
                  <a:pt x="11113" y="484220"/>
                  <a:pt x="24574" y="484220"/>
                </a:cubicBezTo>
                <a:lnTo>
                  <a:pt x="766572" y="484220"/>
                </a:lnTo>
                <a:cubicBezTo>
                  <a:pt x="780034" y="484220"/>
                  <a:pt x="790956" y="473298"/>
                  <a:pt x="790956" y="459835"/>
                </a:cubicBezTo>
                <a:lnTo>
                  <a:pt x="790956" y="364458"/>
                </a:lnTo>
                <a:lnTo>
                  <a:pt x="790829" y="295116"/>
                </a:lnTo>
                <a:lnTo>
                  <a:pt x="790829" y="261334"/>
                </a:lnTo>
                <a:cubicBezTo>
                  <a:pt x="790194" y="253714"/>
                  <a:pt x="786257" y="246729"/>
                  <a:pt x="779780" y="242602"/>
                </a:cubicBezTo>
                <a:lnTo>
                  <a:pt x="405447" y="2508"/>
                </a:lnTo>
                <a:cubicBezTo>
                  <a:pt x="400304" y="-793"/>
                  <a:pt x="393764" y="-857"/>
                  <a:pt x="388557" y="2445"/>
                </a:cubicBezTo>
                <a:cubicBezTo>
                  <a:pt x="287972" y="66072"/>
                  <a:pt x="64262" y="208757"/>
                  <a:pt x="11620" y="242284"/>
                </a:cubicBezTo>
                <a:cubicBezTo>
                  <a:pt x="4699" y="246666"/>
                  <a:pt x="127" y="254286"/>
                  <a:pt x="0" y="262477"/>
                </a:cubicBezTo>
                <a:lnTo>
                  <a:pt x="0" y="304832"/>
                </a:lnTo>
                <a:cubicBezTo>
                  <a:pt x="0" y="304832"/>
                  <a:pt x="127" y="366681"/>
                  <a:pt x="127" y="366681"/>
                </a:cubicBez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DDED790A-88A8-57F8-55E4-328E389A5C08}"/>
              </a:ext>
            </a:extLst>
          </p:cNvPr>
          <p:cNvSpPr/>
          <p:nvPr userDrawn="1"/>
        </p:nvSpPr>
        <p:spPr>
          <a:xfrm>
            <a:off x="10238422" y="5161335"/>
            <a:ext cx="790892" cy="956907"/>
          </a:xfrm>
          <a:custGeom>
            <a:avLst/>
            <a:gdLst>
              <a:gd name="connsiteX0" fmla="*/ 19304 w 790892"/>
              <a:gd name="connsiteY0" fmla="*/ 956128 h 956907"/>
              <a:gd name="connsiteX1" fmla="*/ 445 w 790892"/>
              <a:gd name="connsiteY1" fmla="*/ 942602 h 956907"/>
              <a:gd name="connsiteX2" fmla="*/ 127 w 790892"/>
              <a:gd name="connsiteY2" fmla="*/ 366593 h 956907"/>
              <a:gd name="connsiteX3" fmla="*/ 0 w 790892"/>
              <a:gd name="connsiteY3" fmla="*/ 304744 h 956907"/>
              <a:gd name="connsiteX4" fmla="*/ 0 w 790892"/>
              <a:gd name="connsiteY4" fmla="*/ 262390 h 956907"/>
              <a:gd name="connsiteX5" fmla="*/ 11621 w 790892"/>
              <a:gd name="connsiteY5" fmla="*/ 242261 h 956907"/>
              <a:gd name="connsiteX6" fmla="*/ 388557 w 790892"/>
              <a:gd name="connsiteY6" fmla="*/ 2421 h 956907"/>
              <a:gd name="connsiteX7" fmla="*/ 405447 w 790892"/>
              <a:gd name="connsiteY7" fmla="*/ 2485 h 956907"/>
              <a:gd name="connsiteX8" fmla="*/ 779780 w 790892"/>
              <a:gd name="connsiteY8" fmla="*/ 242578 h 956907"/>
              <a:gd name="connsiteX9" fmla="*/ 790766 w 790892"/>
              <a:gd name="connsiteY9" fmla="*/ 261311 h 956907"/>
              <a:gd name="connsiteX10" fmla="*/ 790766 w 790892"/>
              <a:gd name="connsiteY10" fmla="*/ 295093 h 956907"/>
              <a:gd name="connsiteX11" fmla="*/ 790893 w 790892"/>
              <a:gd name="connsiteY11" fmla="*/ 364435 h 956907"/>
              <a:gd name="connsiteX12" fmla="*/ 790893 w 790892"/>
              <a:gd name="connsiteY12" fmla="*/ 942602 h 956907"/>
              <a:gd name="connsiteX13" fmla="*/ 772096 w 790892"/>
              <a:gd name="connsiteY13" fmla="*/ 956064 h 956907"/>
              <a:gd name="connsiteX14" fmla="*/ 405321 w 790892"/>
              <a:gd name="connsiteY14" fmla="*/ 830715 h 956907"/>
              <a:gd name="connsiteX15" fmla="*/ 386334 w 790892"/>
              <a:gd name="connsiteY15" fmla="*/ 830715 h 956907"/>
              <a:gd name="connsiteX16" fmla="*/ 19368 w 790892"/>
              <a:gd name="connsiteY16" fmla="*/ 956000 h 956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90892" h="956907">
                <a:moveTo>
                  <a:pt x="19304" y="956128"/>
                </a:moveTo>
                <a:cubicBezTo>
                  <a:pt x="10096" y="959303"/>
                  <a:pt x="508" y="952381"/>
                  <a:pt x="445" y="942602"/>
                </a:cubicBezTo>
                <a:cubicBezTo>
                  <a:pt x="127" y="674378"/>
                  <a:pt x="127" y="625800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9"/>
                  <a:pt x="4699" y="246642"/>
                  <a:pt x="11621" y="242261"/>
                </a:cubicBezTo>
                <a:cubicBezTo>
                  <a:pt x="64262" y="208732"/>
                  <a:pt x="288036" y="66048"/>
                  <a:pt x="388557" y="2421"/>
                </a:cubicBezTo>
                <a:cubicBezTo>
                  <a:pt x="393700" y="-818"/>
                  <a:pt x="400304" y="-818"/>
                  <a:pt x="405447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3"/>
                </a:lnTo>
                <a:cubicBezTo>
                  <a:pt x="790766" y="295093"/>
                  <a:pt x="790893" y="364435"/>
                  <a:pt x="790893" y="364435"/>
                </a:cubicBezTo>
                <a:lnTo>
                  <a:pt x="790893" y="942602"/>
                </a:lnTo>
                <a:cubicBezTo>
                  <a:pt x="790893" y="952381"/>
                  <a:pt x="781304" y="959239"/>
                  <a:pt x="772096" y="956064"/>
                </a:cubicBezTo>
                <a:lnTo>
                  <a:pt x="405321" y="830715"/>
                </a:lnTo>
                <a:cubicBezTo>
                  <a:pt x="399161" y="828619"/>
                  <a:pt x="392494" y="828619"/>
                  <a:pt x="386334" y="830715"/>
                </a:cubicBezTo>
                <a:lnTo>
                  <a:pt x="19368" y="95600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7" name="Freeform 26">
            <a:extLst>
              <a:ext uri="{FF2B5EF4-FFF2-40B4-BE49-F238E27FC236}">
                <a16:creationId xmlns:a16="http://schemas.microsoft.com/office/drawing/2014/main" id="{8E271A8C-CF85-5BE9-6EC7-8C7EF428E390}"/>
              </a:ext>
            </a:extLst>
          </p:cNvPr>
          <p:cNvSpPr/>
          <p:nvPr userDrawn="1"/>
        </p:nvSpPr>
        <p:spPr>
          <a:xfrm>
            <a:off x="10238358" y="6118383"/>
            <a:ext cx="790956" cy="484219"/>
          </a:xfrm>
          <a:custGeom>
            <a:avLst/>
            <a:gdLst>
              <a:gd name="connsiteX0" fmla="*/ 191 w 790956"/>
              <a:gd name="connsiteY0" fmla="*/ 366554 h 484219"/>
              <a:gd name="connsiteX1" fmla="*/ 191 w 790956"/>
              <a:gd name="connsiteY1" fmla="*/ 459835 h 484219"/>
              <a:gd name="connsiteX2" fmla="*/ 24574 w 790956"/>
              <a:gd name="connsiteY2" fmla="*/ 484220 h 484219"/>
              <a:gd name="connsiteX3" fmla="*/ 766573 w 790956"/>
              <a:gd name="connsiteY3" fmla="*/ 484220 h 484219"/>
              <a:gd name="connsiteX4" fmla="*/ 790956 w 790956"/>
              <a:gd name="connsiteY4" fmla="*/ 459835 h 484219"/>
              <a:gd name="connsiteX5" fmla="*/ 790956 w 790956"/>
              <a:gd name="connsiteY5" fmla="*/ 364458 h 484219"/>
              <a:gd name="connsiteX6" fmla="*/ 790829 w 790956"/>
              <a:gd name="connsiteY6" fmla="*/ 295116 h 484219"/>
              <a:gd name="connsiteX7" fmla="*/ 790829 w 790956"/>
              <a:gd name="connsiteY7" fmla="*/ 261334 h 484219"/>
              <a:gd name="connsiteX8" fmla="*/ 779780 w 790956"/>
              <a:gd name="connsiteY8" fmla="*/ 242602 h 484219"/>
              <a:gd name="connsiteX9" fmla="*/ 405447 w 790956"/>
              <a:gd name="connsiteY9" fmla="*/ 2508 h 484219"/>
              <a:gd name="connsiteX10" fmla="*/ 388557 w 790956"/>
              <a:gd name="connsiteY10" fmla="*/ 2445 h 484219"/>
              <a:gd name="connsiteX11" fmla="*/ 11621 w 790956"/>
              <a:gd name="connsiteY11" fmla="*/ 242284 h 484219"/>
              <a:gd name="connsiteX12" fmla="*/ 0 w 790956"/>
              <a:gd name="connsiteY12" fmla="*/ 262477 h 484219"/>
              <a:gd name="connsiteX13" fmla="*/ 0 w 790956"/>
              <a:gd name="connsiteY13" fmla="*/ 304832 h 484219"/>
              <a:gd name="connsiteX14" fmla="*/ 127 w 790956"/>
              <a:gd name="connsiteY14" fmla="*/ 366681 h 48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90956" h="484219">
                <a:moveTo>
                  <a:pt x="191" y="366554"/>
                </a:moveTo>
                <a:cubicBezTo>
                  <a:pt x="191" y="401098"/>
                  <a:pt x="191" y="431769"/>
                  <a:pt x="191" y="459835"/>
                </a:cubicBezTo>
                <a:cubicBezTo>
                  <a:pt x="191" y="473298"/>
                  <a:pt x="11113" y="484220"/>
                  <a:pt x="24574" y="484220"/>
                </a:cubicBezTo>
                <a:lnTo>
                  <a:pt x="766573" y="484220"/>
                </a:lnTo>
                <a:cubicBezTo>
                  <a:pt x="780035" y="484220"/>
                  <a:pt x="790956" y="473298"/>
                  <a:pt x="790956" y="459835"/>
                </a:cubicBezTo>
                <a:lnTo>
                  <a:pt x="790956" y="364458"/>
                </a:lnTo>
                <a:lnTo>
                  <a:pt x="790829" y="295116"/>
                </a:lnTo>
                <a:lnTo>
                  <a:pt x="790829" y="261334"/>
                </a:lnTo>
                <a:cubicBezTo>
                  <a:pt x="790194" y="253714"/>
                  <a:pt x="786257" y="246729"/>
                  <a:pt x="779780" y="242602"/>
                </a:cubicBezTo>
                <a:lnTo>
                  <a:pt x="405447" y="2508"/>
                </a:lnTo>
                <a:cubicBezTo>
                  <a:pt x="400304" y="-793"/>
                  <a:pt x="393764" y="-857"/>
                  <a:pt x="388557" y="2445"/>
                </a:cubicBezTo>
                <a:cubicBezTo>
                  <a:pt x="287972" y="66072"/>
                  <a:pt x="64262" y="208757"/>
                  <a:pt x="11621" y="242284"/>
                </a:cubicBezTo>
                <a:cubicBezTo>
                  <a:pt x="4699" y="246666"/>
                  <a:pt x="127" y="254286"/>
                  <a:pt x="0" y="262477"/>
                </a:cubicBezTo>
                <a:lnTo>
                  <a:pt x="0" y="304832"/>
                </a:lnTo>
                <a:cubicBezTo>
                  <a:pt x="0" y="304832"/>
                  <a:pt x="127" y="366681"/>
                  <a:pt x="127" y="366681"/>
                </a:cubicBez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964AAB5B-FB09-07C0-E5D1-3E108094D7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52353" y="1054527"/>
            <a:ext cx="9866569" cy="541204"/>
          </a:xfrm>
        </p:spPr>
        <p:txBody>
          <a:bodyPr anchor="t">
            <a:noAutofit/>
          </a:bodyPr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3CBF4215-2DE8-F475-D0F7-DC07C16AF1EE}"/>
              </a:ext>
            </a:extLst>
          </p:cNvPr>
          <p:cNvSpPr>
            <a:spLocks noGrp="1"/>
          </p:cNvSpPr>
          <p:nvPr>
            <p:ph type="body" sz="half" idx="11"/>
          </p:nvPr>
        </p:nvSpPr>
        <p:spPr>
          <a:xfrm>
            <a:off x="1152355" y="1683838"/>
            <a:ext cx="4817518" cy="345112"/>
          </a:xfrm>
        </p:spPr>
        <p:txBody>
          <a:bodyPr numCol="1">
            <a:noAutofit/>
          </a:bodyPr>
          <a:lstStyle>
            <a:lvl1pPr marL="0" indent="0">
              <a:buNone/>
              <a:defRPr sz="2400" b="0" i="0">
                <a:latin typeface="Helvetica" pitchFamily="2" charset="0"/>
                <a:ea typeface="Bagoss Standard" panose="020B0504060102020204" pitchFamily="34" charset="77"/>
                <a:cs typeface="Bagoss Standard" panose="020B0504060102020204" pitchFamily="34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Content Placeholder 19">
            <a:extLst>
              <a:ext uri="{FF2B5EF4-FFF2-40B4-BE49-F238E27FC236}">
                <a16:creationId xmlns:a16="http://schemas.microsoft.com/office/drawing/2014/main" id="{D68FD229-4FCB-BF16-305D-324C6ED1A6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152355" y="2118033"/>
            <a:ext cx="4817518" cy="273614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/>
            </a:lvl1pPr>
            <a:lvl2pPr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8A6A134F-DCBC-B616-EC6B-95CDC4755B3E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6221312" y="1683838"/>
            <a:ext cx="4817518" cy="345112"/>
          </a:xfrm>
        </p:spPr>
        <p:txBody>
          <a:bodyPr numCol="1">
            <a:noAutofit/>
          </a:bodyPr>
          <a:lstStyle>
            <a:lvl1pPr marL="0" indent="0">
              <a:buNone/>
              <a:defRPr sz="2400" b="0" i="0">
                <a:latin typeface="Helvetica" pitchFamily="2" charset="0"/>
                <a:ea typeface="Bagoss Standard" panose="020B0504060102020204" pitchFamily="34" charset="77"/>
                <a:cs typeface="Bagoss Standard" panose="020B0504060102020204" pitchFamily="34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Content Placeholder 19">
            <a:extLst>
              <a:ext uri="{FF2B5EF4-FFF2-40B4-BE49-F238E27FC236}">
                <a16:creationId xmlns:a16="http://schemas.microsoft.com/office/drawing/2014/main" id="{7FC15841-C565-8F0B-991B-E21FB6D818ED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21312" y="2118033"/>
            <a:ext cx="4817518" cy="273614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/>
            </a:lvl1pPr>
            <a:lvl2pPr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879006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ontent-Pattern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>
            <a:extLst>
              <a:ext uri="{FF2B5EF4-FFF2-40B4-BE49-F238E27FC236}">
                <a16:creationId xmlns:a16="http://schemas.microsoft.com/office/drawing/2014/main" id="{45BF0638-01EF-C513-19F9-8E2516B69A07}"/>
              </a:ext>
            </a:extLst>
          </p:cNvPr>
          <p:cNvSpPr/>
          <p:nvPr userDrawn="1"/>
        </p:nvSpPr>
        <p:spPr>
          <a:xfrm>
            <a:off x="255079" y="5639998"/>
            <a:ext cx="790892" cy="962541"/>
          </a:xfrm>
          <a:custGeom>
            <a:avLst/>
            <a:gdLst>
              <a:gd name="connsiteX0" fmla="*/ 676275 w 790892"/>
              <a:gd name="connsiteY0" fmla="*/ 962478 h 962541"/>
              <a:gd name="connsiteX1" fmla="*/ 24892 w 790892"/>
              <a:gd name="connsiteY1" fmla="*/ 962478 h 962541"/>
              <a:gd name="connsiteX2" fmla="*/ 445 w 790892"/>
              <a:gd name="connsiteY2" fmla="*/ 938030 h 962541"/>
              <a:gd name="connsiteX3" fmla="*/ 127 w 790892"/>
              <a:gd name="connsiteY3" fmla="*/ 366593 h 962541"/>
              <a:gd name="connsiteX4" fmla="*/ 0 w 790892"/>
              <a:gd name="connsiteY4" fmla="*/ 304744 h 962541"/>
              <a:gd name="connsiteX5" fmla="*/ 0 w 790892"/>
              <a:gd name="connsiteY5" fmla="*/ 262390 h 962541"/>
              <a:gd name="connsiteX6" fmla="*/ 11621 w 790892"/>
              <a:gd name="connsiteY6" fmla="*/ 242261 h 962541"/>
              <a:gd name="connsiteX7" fmla="*/ 388557 w 790892"/>
              <a:gd name="connsiteY7" fmla="*/ 2421 h 962541"/>
              <a:gd name="connsiteX8" fmla="*/ 405448 w 790892"/>
              <a:gd name="connsiteY8" fmla="*/ 2485 h 962541"/>
              <a:gd name="connsiteX9" fmla="*/ 779780 w 790892"/>
              <a:gd name="connsiteY9" fmla="*/ 242578 h 962541"/>
              <a:gd name="connsiteX10" fmla="*/ 790766 w 790892"/>
              <a:gd name="connsiteY10" fmla="*/ 261311 h 962541"/>
              <a:gd name="connsiteX11" fmla="*/ 790766 w 790892"/>
              <a:gd name="connsiteY11" fmla="*/ 295092 h 962541"/>
              <a:gd name="connsiteX12" fmla="*/ 790893 w 790892"/>
              <a:gd name="connsiteY12" fmla="*/ 364435 h 962541"/>
              <a:gd name="connsiteX13" fmla="*/ 790893 w 790892"/>
              <a:gd name="connsiteY13" fmla="*/ 938157 h 962541"/>
              <a:gd name="connsiteX14" fmla="*/ 766509 w 790892"/>
              <a:gd name="connsiteY14" fmla="*/ 962541 h 962541"/>
              <a:gd name="connsiteX15" fmla="*/ 676212 w 790892"/>
              <a:gd name="connsiteY15" fmla="*/ 962541 h 96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90892" h="962541">
                <a:moveTo>
                  <a:pt x="676275" y="962478"/>
                </a:moveTo>
                <a:lnTo>
                  <a:pt x="24892" y="962478"/>
                </a:lnTo>
                <a:cubicBezTo>
                  <a:pt x="11494" y="962478"/>
                  <a:pt x="445" y="951429"/>
                  <a:pt x="445" y="938030"/>
                </a:cubicBezTo>
                <a:cubicBezTo>
                  <a:pt x="127" y="673806"/>
                  <a:pt x="127" y="624277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8"/>
                  <a:pt x="4699" y="246642"/>
                  <a:pt x="11621" y="242261"/>
                </a:cubicBezTo>
                <a:cubicBezTo>
                  <a:pt x="64262" y="208732"/>
                  <a:pt x="288036" y="66048"/>
                  <a:pt x="388557" y="2421"/>
                </a:cubicBezTo>
                <a:cubicBezTo>
                  <a:pt x="393700" y="-818"/>
                  <a:pt x="400304" y="-818"/>
                  <a:pt x="405448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2"/>
                </a:lnTo>
                <a:cubicBezTo>
                  <a:pt x="790766" y="295092"/>
                  <a:pt x="790893" y="364435"/>
                  <a:pt x="790893" y="364435"/>
                </a:cubicBezTo>
                <a:lnTo>
                  <a:pt x="790893" y="938157"/>
                </a:lnTo>
                <a:cubicBezTo>
                  <a:pt x="790893" y="951619"/>
                  <a:pt x="779971" y="962541"/>
                  <a:pt x="766509" y="962541"/>
                </a:cubicBezTo>
                <a:lnTo>
                  <a:pt x="676212" y="962541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51C04AC2-7955-077C-8F02-B73E55FB9D0D}"/>
              </a:ext>
            </a:extLst>
          </p:cNvPr>
          <p:cNvSpPr/>
          <p:nvPr userDrawn="1"/>
        </p:nvSpPr>
        <p:spPr>
          <a:xfrm>
            <a:off x="2070290" y="5639998"/>
            <a:ext cx="790892" cy="962541"/>
          </a:xfrm>
          <a:custGeom>
            <a:avLst/>
            <a:gdLst>
              <a:gd name="connsiteX0" fmla="*/ 676211 w 790892"/>
              <a:gd name="connsiteY0" fmla="*/ 962478 h 962541"/>
              <a:gd name="connsiteX1" fmla="*/ 24892 w 790892"/>
              <a:gd name="connsiteY1" fmla="*/ 962478 h 962541"/>
              <a:gd name="connsiteX2" fmla="*/ 445 w 790892"/>
              <a:gd name="connsiteY2" fmla="*/ 938030 h 962541"/>
              <a:gd name="connsiteX3" fmla="*/ 127 w 790892"/>
              <a:gd name="connsiteY3" fmla="*/ 366593 h 962541"/>
              <a:gd name="connsiteX4" fmla="*/ 0 w 790892"/>
              <a:gd name="connsiteY4" fmla="*/ 304744 h 962541"/>
              <a:gd name="connsiteX5" fmla="*/ 0 w 790892"/>
              <a:gd name="connsiteY5" fmla="*/ 262390 h 962541"/>
              <a:gd name="connsiteX6" fmla="*/ 11620 w 790892"/>
              <a:gd name="connsiteY6" fmla="*/ 242261 h 962541"/>
              <a:gd name="connsiteX7" fmla="*/ 388557 w 790892"/>
              <a:gd name="connsiteY7" fmla="*/ 2421 h 962541"/>
              <a:gd name="connsiteX8" fmla="*/ 405448 w 790892"/>
              <a:gd name="connsiteY8" fmla="*/ 2485 h 962541"/>
              <a:gd name="connsiteX9" fmla="*/ 779780 w 790892"/>
              <a:gd name="connsiteY9" fmla="*/ 242578 h 962541"/>
              <a:gd name="connsiteX10" fmla="*/ 790766 w 790892"/>
              <a:gd name="connsiteY10" fmla="*/ 261311 h 962541"/>
              <a:gd name="connsiteX11" fmla="*/ 790766 w 790892"/>
              <a:gd name="connsiteY11" fmla="*/ 295092 h 962541"/>
              <a:gd name="connsiteX12" fmla="*/ 790892 w 790892"/>
              <a:gd name="connsiteY12" fmla="*/ 364435 h 962541"/>
              <a:gd name="connsiteX13" fmla="*/ 790892 w 790892"/>
              <a:gd name="connsiteY13" fmla="*/ 938157 h 962541"/>
              <a:gd name="connsiteX14" fmla="*/ 766508 w 790892"/>
              <a:gd name="connsiteY14" fmla="*/ 962541 h 962541"/>
              <a:gd name="connsiteX15" fmla="*/ 676211 w 790892"/>
              <a:gd name="connsiteY15" fmla="*/ 962541 h 96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90892" h="962541">
                <a:moveTo>
                  <a:pt x="676211" y="962478"/>
                </a:moveTo>
                <a:lnTo>
                  <a:pt x="24892" y="962478"/>
                </a:lnTo>
                <a:cubicBezTo>
                  <a:pt x="11493" y="962478"/>
                  <a:pt x="445" y="951429"/>
                  <a:pt x="445" y="938030"/>
                </a:cubicBezTo>
                <a:cubicBezTo>
                  <a:pt x="127" y="673806"/>
                  <a:pt x="127" y="624277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8"/>
                  <a:pt x="4699" y="246642"/>
                  <a:pt x="11620" y="242261"/>
                </a:cubicBezTo>
                <a:cubicBezTo>
                  <a:pt x="64262" y="208732"/>
                  <a:pt x="288036" y="66048"/>
                  <a:pt x="388557" y="2421"/>
                </a:cubicBezTo>
                <a:cubicBezTo>
                  <a:pt x="393700" y="-818"/>
                  <a:pt x="400304" y="-818"/>
                  <a:pt x="405448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2"/>
                </a:lnTo>
                <a:cubicBezTo>
                  <a:pt x="790766" y="295092"/>
                  <a:pt x="790892" y="364435"/>
                  <a:pt x="790892" y="364435"/>
                </a:cubicBezTo>
                <a:lnTo>
                  <a:pt x="790892" y="938157"/>
                </a:lnTo>
                <a:cubicBezTo>
                  <a:pt x="790892" y="951619"/>
                  <a:pt x="779970" y="962541"/>
                  <a:pt x="766508" y="962541"/>
                </a:cubicBezTo>
                <a:lnTo>
                  <a:pt x="676211" y="962541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8CB79CF1-521B-E0D6-D4FE-073AD2345EA3}"/>
              </a:ext>
            </a:extLst>
          </p:cNvPr>
          <p:cNvSpPr/>
          <p:nvPr userDrawn="1"/>
        </p:nvSpPr>
        <p:spPr>
          <a:xfrm>
            <a:off x="3885438" y="5639998"/>
            <a:ext cx="790892" cy="962541"/>
          </a:xfrm>
          <a:custGeom>
            <a:avLst/>
            <a:gdLst>
              <a:gd name="connsiteX0" fmla="*/ 676211 w 790892"/>
              <a:gd name="connsiteY0" fmla="*/ 962478 h 962541"/>
              <a:gd name="connsiteX1" fmla="*/ 24892 w 790892"/>
              <a:gd name="connsiteY1" fmla="*/ 962478 h 962541"/>
              <a:gd name="connsiteX2" fmla="*/ 445 w 790892"/>
              <a:gd name="connsiteY2" fmla="*/ 938030 h 962541"/>
              <a:gd name="connsiteX3" fmla="*/ 127 w 790892"/>
              <a:gd name="connsiteY3" fmla="*/ 366593 h 962541"/>
              <a:gd name="connsiteX4" fmla="*/ 0 w 790892"/>
              <a:gd name="connsiteY4" fmla="*/ 304744 h 962541"/>
              <a:gd name="connsiteX5" fmla="*/ 0 w 790892"/>
              <a:gd name="connsiteY5" fmla="*/ 262390 h 962541"/>
              <a:gd name="connsiteX6" fmla="*/ 11621 w 790892"/>
              <a:gd name="connsiteY6" fmla="*/ 242261 h 962541"/>
              <a:gd name="connsiteX7" fmla="*/ 388557 w 790892"/>
              <a:gd name="connsiteY7" fmla="*/ 2421 h 962541"/>
              <a:gd name="connsiteX8" fmla="*/ 405447 w 790892"/>
              <a:gd name="connsiteY8" fmla="*/ 2485 h 962541"/>
              <a:gd name="connsiteX9" fmla="*/ 779780 w 790892"/>
              <a:gd name="connsiteY9" fmla="*/ 242578 h 962541"/>
              <a:gd name="connsiteX10" fmla="*/ 790765 w 790892"/>
              <a:gd name="connsiteY10" fmla="*/ 261311 h 962541"/>
              <a:gd name="connsiteX11" fmla="*/ 790765 w 790892"/>
              <a:gd name="connsiteY11" fmla="*/ 295092 h 962541"/>
              <a:gd name="connsiteX12" fmla="*/ 790892 w 790892"/>
              <a:gd name="connsiteY12" fmla="*/ 364435 h 962541"/>
              <a:gd name="connsiteX13" fmla="*/ 790892 w 790892"/>
              <a:gd name="connsiteY13" fmla="*/ 938157 h 962541"/>
              <a:gd name="connsiteX14" fmla="*/ 766509 w 790892"/>
              <a:gd name="connsiteY14" fmla="*/ 962541 h 962541"/>
              <a:gd name="connsiteX15" fmla="*/ 676211 w 790892"/>
              <a:gd name="connsiteY15" fmla="*/ 962541 h 96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90892" h="962541">
                <a:moveTo>
                  <a:pt x="676211" y="962478"/>
                </a:moveTo>
                <a:lnTo>
                  <a:pt x="24892" y="962478"/>
                </a:lnTo>
                <a:cubicBezTo>
                  <a:pt x="11493" y="962478"/>
                  <a:pt x="445" y="951429"/>
                  <a:pt x="445" y="938030"/>
                </a:cubicBezTo>
                <a:cubicBezTo>
                  <a:pt x="127" y="673806"/>
                  <a:pt x="127" y="624277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8"/>
                  <a:pt x="4699" y="246642"/>
                  <a:pt x="11621" y="242261"/>
                </a:cubicBezTo>
                <a:cubicBezTo>
                  <a:pt x="64262" y="208732"/>
                  <a:pt x="288036" y="66048"/>
                  <a:pt x="388557" y="2421"/>
                </a:cubicBezTo>
                <a:cubicBezTo>
                  <a:pt x="393700" y="-818"/>
                  <a:pt x="400304" y="-818"/>
                  <a:pt x="405447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5" y="261311"/>
                </a:cubicBezTo>
                <a:lnTo>
                  <a:pt x="790765" y="295092"/>
                </a:lnTo>
                <a:cubicBezTo>
                  <a:pt x="790765" y="295092"/>
                  <a:pt x="790892" y="364435"/>
                  <a:pt x="790892" y="364435"/>
                </a:cubicBezTo>
                <a:lnTo>
                  <a:pt x="790892" y="938157"/>
                </a:lnTo>
                <a:cubicBezTo>
                  <a:pt x="790892" y="951619"/>
                  <a:pt x="779971" y="962541"/>
                  <a:pt x="766509" y="962541"/>
                </a:cubicBezTo>
                <a:lnTo>
                  <a:pt x="676211" y="962541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42769974-9DA7-82A3-81CB-99F7C463B0F8}"/>
              </a:ext>
            </a:extLst>
          </p:cNvPr>
          <p:cNvSpPr/>
          <p:nvPr userDrawn="1"/>
        </p:nvSpPr>
        <p:spPr>
          <a:xfrm>
            <a:off x="5700585" y="5639998"/>
            <a:ext cx="790892" cy="962541"/>
          </a:xfrm>
          <a:custGeom>
            <a:avLst/>
            <a:gdLst>
              <a:gd name="connsiteX0" fmla="*/ 676211 w 790892"/>
              <a:gd name="connsiteY0" fmla="*/ 962478 h 962541"/>
              <a:gd name="connsiteX1" fmla="*/ 24892 w 790892"/>
              <a:gd name="connsiteY1" fmla="*/ 962478 h 962541"/>
              <a:gd name="connsiteX2" fmla="*/ 445 w 790892"/>
              <a:gd name="connsiteY2" fmla="*/ 938030 h 962541"/>
              <a:gd name="connsiteX3" fmla="*/ 127 w 790892"/>
              <a:gd name="connsiteY3" fmla="*/ 366593 h 962541"/>
              <a:gd name="connsiteX4" fmla="*/ 0 w 790892"/>
              <a:gd name="connsiteY4" fmla="*/ 304744 h 962541"/>
              <a:gd name="connsiteX5" fmla="*/ 0 w 790892"/>
              <a:gd name="connsiteY5" fmla="*/ 262390 h 962541"/>
              <a:gd name="connsiteX6" fmla="*/ 11621 w 790892"/>
              <a:gd name="connsiteY6" fmla="*/ 242261 h 962541"/>
              <a:gd name="connsiteX7" fmla="*/ 388557 w 790892"/>
              <a:gd name="connsiteY7" fmla="*/ 2421 h 962541"/>
              <a:gd name="connsiteX8" fmla="*/ 405448 w 790892"/>
              <a:gd name="connsiteY8" fmla="*/ 2485 h 962541"/>
              <a:gd name="connsiteX9" fmla="*/ 779780 w 790892"/>
              <a:gd name="connsiteY9" fmla="*/ 242578 h 962541"/>
              <a:gd name="connsiteX10" fmla="*/ 790766 w 790892"/>
              <a:gd name="connsiteY10" fmla="*/ 261311 h 962541"/>
              <a:gd name="connsiteX11" fmla="*/ 790766 w 790892"/>
              <a:gd name="connsiteY11" fmla="*/ 295092 h 962541"/>
              <a:gd name="connsiteX12" fmla="*/ 790893 w 790892"/>
              <a:gd name="connsiteY12" fmla="*/ 364435 h 962541"/>
              <a:gd name="connsiteX13" fmla="*/ 790893 w 790892"/>
              <a:gd name="connsiteY13" fmla="*/ 938157 h 962541"/>
              <a:gd name="connsiteX14" fmla="*/ 766509 w 790892"/>
              <a:gd name="connsiteY14" fmla="*/ 962541 h 962541"/>
              <a:gd name="connsiteX15" fmla="*/ 676211 w 790892"/>
              <a:gd name="connsiteY15" fmla="*/ 962541 h 96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90892" h="962541">
                <a:moveTo>
                  <a:pt x="676211" y="962478"/>
                </a:moveTo>
                <a:lnTo>
                  <a:pt x="24892" y="962478"/>
                </a:lnTo>
                <a:cubicBezTo>
                  <a:pt x="11493" y="962478"/>
                  <a:pt x="445" y="951429"/>
                  <a:pt x="445" y="938030"/>
                </a:cubicBezTo>
                <a:cubicBezTo>
                  <a:pt x="127" y="673806"/>
                  <a:pt x="127" y="624277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8"/>
                  <a:pt x="4699" y="246642"/>
                  <a:pt x="11621" y="242261"/>
                </a:cubicBezTo>
                <a:cubicBezTo>
                  <a:pt x="64262" y="208732"/>
                  <a:pt x="288036" y="66048"/>
                  <a:pt x="388557" y="2421"/>
                </a:cubicBezTo>
                <a:cubicBezTo>
                  <a:pt x="393700" y="-818"/>
                  <a:pt x="400304" y="-818"/>
                  <a:pt x="405448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2"/>
                </a:lnTo>
                <a:cubicBezTo>
                  <a:pt x="790766" y="295092"/>
                  <a:pt x="790893" y="364435"/>
                  <a:pt x="790893" y="364435"/>
                </a:cubicBezTo>
                <a:lnTo>
                  <a:pt x="790893" y="938157"/>
                </a:lnTo>
                <a:cubicBezTo>
                  <a:pt x="790893" y="951619"/>
                  <a:pt x="779971" y="962541"/>
                  <a:pt x="766509" y="962541"/>
                </a:cubicBezTo>
                <a:lnTo>
                  <a:pt x="676211" y="962541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D48DB9A7-4252-DEF8-1703-75FA88C32191}"/>
              </a:ext>
            </a:extLst>
          </p:cNvPr>
          <p:cNvSpPr/>
          <p:nvPr userDrawn="1"/>
        </p:nvSpPr>
        <p:spPr>
          <a:xfrm>
            <a:off x="1162685" y="5161335"/>
            <a:ext cx="790892" cy="956907"/>
          </a:xfrm>
          <a:custGeom>
            <a:avLst/>
            <a:gdLst>
              <a:gd name="connsiteX0" fmla="*/ 19304 w 790892"/>
              <a:gd name="connsiteY0" fmla="*/ 956128 h 956907"/>
              <a:gd name="connsiteX1" fmla="*/ 444 w 790892"/>
              <a:gd name="connsiteY1" fmla="*/ 942602 h 956907"/>
              <a:gd name="connsiteX2" fmla="*/ 127 w 790892"/>
              <a:gd name="connsiteY2" fmla="*/ 366593 h 956907"/>
              <a:gd name="connsiteX3" fmla="*/ 0 w 790892"/>
              <a:gd name="connsiteY3" fmla="*/ 304744 h 956907"/>
              <a:gd name="connsiteX4" fmla="*/ 0 w 790892"/>
              <a:gd name="connsiteY4" fmla="*/ 262390 h 956907"/>
              <a:gd name="connsiteX5" fmla="*/ 11620 w 790892"/>
              <a:gd name="connsiteY5" fmla="*/ 242261 h 956907"/>
              <a:gd name="connsiteX6" fmla="*/ 388556 w 790892"/>
              <a:gd name="connsiteY6" fmla="*/ 2421 h 956907"/>
              <a:gd name="connsiteX7" fmla="*/ 405447 w 790892"/>
              <a:gd name="connsiteY7" fmla="*/ 2485 h 956907"/>
              <a:gd name="connsiteX8" fmla="*/ 779780 w 790892"/>
              <a:gd name="connsiteY8" fmla="*/ 242578 h 956907"/>
              <a:gd name="connsiteX9" fmla="*/ 790766 w 790892"/>
              <a:gd name="connsiteY9" fmla="*/ 261311 h 956907"/>
              <a:gd name="connsiteX10" fmla="*/ 790766 w 790892"/>
              <a:gd name="connsiteY10" fmla="*/ 295093 h 956907"/>
              <a:gd name="connsiteX11" fmla="*/ 790892 w 790892"/>
              <a:gd name="connsiteY11" fmla="*/ 364435 h 956907"/>
              <a:gd name="connsiteX12" fmla="*/ 790892 w 790892"/>
              <a:gd name="connsiteY12" fmla="*/ 942602 h 956907"/>
              <a:gd name="connsiteX13" fmla="*/ 772097 w 790892"/>
              <a:gd name="connsiteY13" fmla="*/ 956064 h 956907"/>
              <a:gd name="connsiteX14" fmla="*/ 405320 w 790892"/>
              <a:gd name="connsiteY14" fmla="*/ 830715 h 956907"/>
              <a:gd name="connsiteX15" fmla="*/ 386334 w 790892"/>
              <a:gd name="connsiteY15" fmla="*/ 830715 h 956907"/>
              <a:gd name="connsiteX16" fmla="*/ 19367 w 790892"/>
              <a:gd name="connsiteY16" fmla="*/ 956000 h 956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90892" h="956907">
                <a:moveTo>
                  <a:pt x="19304" y="956128"/>
                </a:moveTo>
                <a:cubicBezTo>
                  <a:pt x="10096" y="959303"/>
                  <a:pt x="508" y="952381"/>
                  <a:pt x="444" y="942602"/>
                </a:cubicBezTo>
                <a:cubicBezTo>
                  <a:pt x="127" y="674378"/>
                  <a:pt x="127" y="625800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9"/>
                  <a:pt x="4699" y="246642"/>
                  <a:pt x="11620" y="242261"/>
                </a:cubicBezTo>
                <a:cubicBezTo>
                  <a:pt x="64262" y="208732"/>
                  <a:pt x="288036" y="66048"/>
                  <a:pt x="388556" y="2421"/>
                </a:cubicBezTo>
                <a:cubicBezTo>
                  <a:pt x="393700" y="-818"/>
                  <a:pt x="400304" y="-818"/>
                  <a:pt x="405447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3"/>
                </a:lnTo>
                <a:cubicBezTo>
                  <a:pt x="790766" y="295093"/>
                  <a:pt x="790892" y="364435"/>
                  <a:pt x="790892" y="364435"/>
                </a:cubicBezTo>
                <a:lnTo>
                  <a:pt x="790892" y="942602"/>
                </a:lnTo>
                <a:cubicBezTo>
                  <a:pt x="790892" y="952381"/>
                  <a:pt x="781304" y="959239"/>
                  <a:pt x="772097" y="956064"/>
                </a:cubicBezTo>
                <a:lnTo>
                  <a:pt x="405320" y="830715"/>
                </a:lnTo>
                <a:cubicBezTo>
                  <a:pt x="399161" y="828619"/>
                  <a:pt x="392494" y="828619"/>
                  <a:pt x="386334" y="830715"/>
                </a:cubicBezTo>
                <a:lnTo>
                  <a:pt x="19367" y="95600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3" name="Freeform 12">
            <a:extLst>
              <a:ext uri="{FF2B5EF4-FFF2-40B4-BE49-F238E27FC236}">
                <a16:creationId xmlns:a16="http://schemas.microsoft.com/office/drawing/2014/main" id="{479A6A6B-A11C-F6D2-2664-0FF75FBB5537}"/>
              </a:ext>
            </a:extLst>
          </p:cNvPr>
          <p:cNvSpPr/>
          <p:nvPr userDrawn="1"/>
        </p:nvSpPr>
        <p:spPr>
          <a:xfrm>
            <a:off x="1162621" y="6118383"/>
            <a:ext cx="790955" cy="484219"/>
          </a:xfrm>
          <a:custGeom>
            <a:avLst/>
            <a:gdLst>
              <a:gd name="connsiteX0" fmla="*/ 190 w 790955"/>
              <a:gd name="connsiteY0" fmla="*/ 366554 h 484219"/>
              <a:gd name="connsiteX1" fmla="*/ 190 w 790955"/>
              <a:gd name="connsiteY1" fmla="*/ 459835 h 484219"/>
              <a:gd name="connsiteX2" fmla="*/ 24575 w 790955"/>
              <a:gd name="connsiteY2" fmla="*/ 484220 h 484219"/>
              <a:gd name="connsiteX3" fmla="*/ 766572 w 790955"/>
              <a:gd name="connsiteY3" fmla="*/ 484220 h 484219"/>
              <a:gd name="connsiteX4" fmla="*/ 790956 w 790955"/>
              <a:gd name="connsiteY4" fmla="*/ 459835 h 484219"/>
              <a:gd name="connsiteX5" fmla="*/ 790956 w 790955"/>
              <a:gd name="connsiteY5" fmla="*/ 364458 h 484219"/>
              <a:gd name="connsiteX6" fmla="*/ 790829 w 790955"/>
              <a:gd name="connsiteY6" fmla="*/ 295116 h 484219"/>
              <a:gd name="connsiteX7" fmla="*/ 790829 w 790955"/>
              <a:gd name="connsiteY7" fmla="*/ 261334 h 484219"/>
              <a:gd name="connsiteX8" fmla="*/ 779780 w 790955"/>
              <a:gd name="connsiteY8" fmla="*/ 242602 h 484219"/>
              <a:gd name="connsiteX9" fmla="*/ 405448 w 790955"/>
              <a:gd name="connsiteY9" fmla="*/ 2508 h 484219"/>
              <a:gd name="connsiteX10" fmla="*/ 388557 w 790955"/>
              <a:gd name="connsiteY10" fmla="*/ 2445 h 484219"/>
              <a:gd name="connsiteX11" fmla="*/ 11621 w 790955"/>
              <a:gd name="connsiteY11" fmla="*/ 242284 h 484219"/>
              <a:gd name="connsiteX12" fmla="*/ 0 w 790955"/>
              <a:gd name="connsiteY12" fmla="*/ 262477 h 484219"/>
              <a:gd name="connsiteX13" fmla="*/ 0 w 790955"/>
              <a:gd name="connsiteY13" fmla="*/ 304832 h 484219"/>
              <a:gd name="connsiteX14" fmla="*/ 127 w 790955"/>
              <a:gd name="connsiteY14" fmla="*/ 366681 h 48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90955" h="484219">
                <a:moveTo>
                  <a:pt x="190" y="366554"/>
                </a:moveTo>
                <a:cubicBezTo>
                  <a:pt x="190" y="401098"/>
                  <a:pt x="190" y="431769"/>
                  <a:pt x="190" y="459835"/>
                </a:cubicBezTo>
                <a:cubicBezTo>
                  <a:pt x="190" y="473298"/>
                  <a:pt x="11113" y="484220"/>
                  <a:pt x="24575" y="484220"/>
                </a:cubicBezTo>
                <a:lnTo>
                  <a:pt x="766572" y="484220"/>
                </a:lnTo>
                <a:cubicBezTo>
                  <a:pt x="780034" y="484220"/>
                  <a:pt x="790956" y="473298"/>
                  <a:pt x="790956" y="459835"/>
                </a:cubicBezTo>
                <a:lnTo>
                  <a:pt x="790956" y="364458"/>
                </a:lnTo>
                <a:lnTo>
                  <a:pt x="790829" y="295116"/>
                </a:lnTo>
                <a:lnTo>
                  <a:pt x="790829" y="261334"/>
                </a:lnTo>
                <a:cubicBezTo>
                  <a:pt x="790194" y="253714"/>
                  <a:pt x="786257" y="246729"/>
                  <a:pt x="779780" y="242602"/>
                </a:cubicBezTo>
                <a:lnTo>
                  <a:pt x="405448" y="2508"/>
                </a:lnTo>
                <a:cubicBezTo>
                  <a:pt x="400304" y="-793"/>
                  <a:pt x="393764" y="-857"/>
                  <a:pt x="388557" y="2445"/>
                </a:cubicBezTo>
                <a:cubicBezTo>
                  <a:pt x="287973" y="66072"/>
                  <a:pt x="64262" y="208757"/>
                  <a:pt x="11621" y="242284"/>
                </a:cubicBezTo>
                <a:cubicBezTo>
                  <a:pt x="4699" y="246666"/>
                  <a:pt x="127" y="254286"/>
                  <a:pt x="0" y="262477"/>
                </a:cubicBezTo>
                <a:lnTo>
                  <a:pt x="0" y="304832"/>
                </a:lnTo>
                <a:cubicBezTo>
                  <a:pt x="0" y="304832"/>
                  <a:pt x="127" y="366681"/>
                  <a:pt x="127" y="366681"/>
                </a:cubicBez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3D10503C-BDE6-AC84-6836-66E519C7DFCC}"/>
              </a:ext>
            </a:extLst>
          </p:cNvPr>
          <p:cNvSpPr/>
          <p:nvPr userDrawn="1"/>
        </p:nvSpPr>
        <p:spPr>
          <a:xfrm>
            <a:off x="2977832" y="5161335"/>
            <a:ext cx="790892" cy="956907"/>
          </a:xfrm>
          <a:custGeom>
            <a:avLst/>
            <a:gdLst>
              <a:gd name="connsiteX0" fmla="*/ 19304 w 790892"/>
              <a:gd name="connsiteY0" fmla="*/ 956128 h 956907"/>
              <a:gd name="connsiteX1" fmla="*/ 444 w 790892"/>
              <a:gd name="connsiteY1" fmla="*/ 942602 h 956907"/>
              <a:gd name="connsiteX2" fmla="*/ 127 w 790892"/>
              <a:gd name="connsiteY2" fmla="*/ 366593 h 956907"/>
              <a:gd name="connsiteX3" fmla="*/ 0 w 790892"/>
              <a:gd name="connsiteY3" fmla="*/ 304744 h 956907"/>
              <a:gd name="connsiteX4" fmla="*/ 0 w 790892"/>
              <a:gd name="connsiteY4" fmla="*/ 262390 h 956907"/>
              <a:gd name="connsiteX5" fmla="*/ 11620 w 790892"/>
              <a:gd name="connsiteY5" fmla="*/ 242261 h 956907"/>
              <a:gd name="connsiteX6" fmla="*/ 388557 w 790892"/>
              <a:gd name="connsiteY6" fmla="*/ 2421 h 956907"/>
              <a:gd name="connsiteX7" fmla="*/ 405447 w 790892"/>
              <a:gd name="connsiteY7" fmla="*/ 2485 h 956907"/>
              <a:gd name="connsiteX8" fmla="*/ 779780 w 790892"/>
              <a:gd name="connsiteY8" fmla="*/ 242578 h 956907"/>
              <a:gd name="connsiteX9" fmla="*/ 790765 w 790892"/>
              <a:gd name="connsiteY9" fmla="*/ 261311 h 956907"/>
              <a:gd name="connsiteX10" fmla="*/ 790765 w 790892"/>
              <a:gd name="connsiteY10" fmla="*/ 295093 h 956907"/>
              <a:gd name="connsiteX11" fmla="*/ 790892 w 790892"/>
              <a:gd name="connsiteY11" fmla="*/ 364435 h 956907"/>
              <a:gd name="connsiteX12" fmla="*/ 790892 w 790892"/>
              <a:gd name="connsiteY12" fmla="*/ 942602 h 956907"/>
              <a:gd name="connsiteX13" fmla="*/ 772096 w 790892"/>
              <a:gd name="connsiteY13" fmla="*/ 956064 h 956907"/>
              <a:gd name="connsiteX14" fmla="*/ 405321 w 790892"/>
              <a:gd name="connsiteY14" fmla="*/ 830715 h 956907"/>
              <a:gd name="connsiteX15" fmla="*/ 386334 w 790892"/>
              <a:gd name="connsiteY15" fmla="*/ 830715 h 956907"/>
              <a:gd name="connsiteX16" fmla="*/ 19367 w 790892"/>
              <a:gd name="connsiteY16" fmla="*/ 956000 h 956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90892" h="956907">
                <a:moveTo>
                  <a:pt x="19304" y="956128"/>
                </a:moveTo>
                <a:cubicBezTo>
                  <a:pt x="10096" y="959303"/>
                  <a:pt x="508" y="952381"/>
                  <a:pt x="444" y="942602"/>
                </a:cubicBezTo>
                <a:cubicBezTo>
                  <a:pt x="127" y="674378"/>
                  <a:pt x="127" y="625800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9"/>
                  <a:pt x="4699" y="246642"/>
                  <a:pt x="11620" y="242261"/>
                </a:cubicBezTo>
                <a:cubicBezTo>
                  <a:pt x="64262" y="208732"/>
                  <a:pt x="288036" y="66048"/>
                  <a:pt x="388557" y="2421"/>
                </a:cubicBezTo>
                <a:cubicBezTo>
                  <a:pt x="393700" y="-818"/>
                  <a:pt x="400304" y="-818"/>
                  <a:pt x="405447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5" y="261311"/>
                </a:cubicBezTo>
                <a:lnTo>
                  <a:pt x="790765" y="295093"/>
                </a:lnTo>
                <a:cubicBezTo>
                  <a:pt x="790765" y="295093"/>
                  <a:pt x="790892" y="364435"/>
                  <a:pt x="790892" y="364435"/>
                </a:cubicBezTo>
                <a:lnTo>
                  <a:pt x="790892" y="942602"/>
                </a:lnTo>
                <a:cubicBezTo>
                  <a:pt x="790892" y="952381"/>
                  <a:pt x="781304" y="959239"/>
                  <a:pt x="772096" y="956064"/>
                </a:cubicBezTo>
                <a:lnTo>
                  <a:pt x="405321" y="830715"/>
                </a:lnTo>
                <a:cubicBezTo>
                  <a:pt x="399161" y="828619"/>
                  <a:pt x="392494" y="828619"/>
                  <a:pt x="386334" y="830715"/>
                </a:cubicBezTo>
                <a:lnTo>
                  <a:pt x="19367" y="95600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D123A383-D4EE-6911-656E-44F17108732C}"/>
              </a:ext>
            </a:extLst>
          </p:cNvPr>
          <p:cNvSpPr/>
          <p:nvPr userDrawn="1"/>
        </p:nvSpPr>
        <p:spPr>
          <a:xfrm>
            <a:off x="2977769" y="6118383"/>
            <a:ext cx="790955" cy="484219"/>
          </a:xfrm>
          <a:custGeom>
            <a:avLst/>
            <a:gdLst>
              <a:gd name="connsiteX0" fmla="*/ 190 w 790955"/>
              <a:gd name="connsiteY0" fmla="*/ 366554 h 484219"/>
              <a:gd name="connsiteX1" fmla="*/ 190 w 790955"/>
              <a:gd name="connsiteY1" fmla="*/ 459835 h 484219"/>
              <a:gd name="connsiteX2" fmla="*/ 24574 w 790955"/>
              <a:gd name="connsiteY2" fmla="*/ 484220 h 484219"/>
              <a:gd name="connsiteX3" fmla="*/ 766572 w 790955"/>
              <a:gd name="connsiteY3" fmla="*/ 484220 h 484219"/>
              <a:gd name="connsiteX4" fmla="*/ 790956 w 790955"/>
              <a:gd name="connsiteY4" fmla="*/ 459835 h 484219"/>
              <a:gd name="connsiteX5" fmla="*/ 790956 w 790955"/>
              <a:gd name="connsiteY5" fmla="*/ 364458 h 484219"/>
              <a:gd name="connsiteX6" fmla="*/ 790829 w 790955"/>
              <a:gd name="connsiteY6" fmla="*/ 295116 h 484219"/>
              <a:gd name="connsiteX7" fmla="*/ 790829 w 790955"/>
              <a:gd name="connsiteY7" fmla="*/ 261334 h 484219"/>
              <a:gd name="connsiteX8" fmla="*/ 779780 w 790955"/>
              <a:gd name="connsiteY8" fmla="*/ 242602 h 484219"/>
              <a:gd name="connsiteX9" fmla="*/ 405447 w 790955"/>
              <a:gd name="connsiteY9" fmla="*/ 2508 h 484219"/>
              <a:gd name="connsiteX10" fmla="*/ 388557 w 790955"/>
              <a:gd name="connsiteY10" fmla="*/ 2445 h 484219"/>
              <a:gd name="connsiteX11" fmla="*/ 11620 w 790955"/>
              <a:gd name="connsiteY11" fmla="*/ 242284 h 484219"/>
              <a:gd name="connsiteX12" fmla="*/ 0 w 790955"/>
              <a:gd name="connsiteY12" fmla="*/ 262477 h 484219"/>
              <a:gd name="connsiteX13" fmla="*/ 0 w 790955"/>
              <a:gd name="connsiteY13" fmla="*/ 304832 h 484219"/>
              <a:gd name="connsiteX14" fmla="*/ 127 w 790955"/>
              <a:gd name="connsiteY14" fmla="*/ 366681 h 48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90955" h="484219">
                <a:moveTo>
                  <a:pt x="190" y="366554"/>
                </a:moveTo>
                <a:cubicBezTo>
                  <a:pt x="190" y="401098"/>
                  <a:pt x="190" y="431769"/>
                  <a:pt x="190" y="459835"/>
                </a:cubicBezTo>
                <a:cubicBezTo>
                  <a:pt x="190" y="473298"/>
                  <a:pt x="11113" y="484220"/>
                  <a:pt x="24574" y="484220"/>
                </a:cubicBezTo>
                <a:lnTo>
                  <a:pt x="766572" y="484220"/>
                </a:lnTo>
                <a:cubicBezTo>
                  <a:pt x="780034" y="484220"/>
                  <a:pt x="790956" y="473298"/>
                  <a:pt x="790956" y="459835"/>
                </a:cubicBezTo>
                <a:lnTo>
                  <a:pt x="790956" y="364458"/>
                </a:lnTo>
                <a:lnTo>
                  <a:pt x="790829" y="295116"/>
                </a:lnTo>
                <a:lnTo>
                  <a:pt x="790829" y="261334"/>
                </a:lnTo>
                <a:cubicBezTo>
                  <a:pt x="790194" y="253714"/>
                  <a:pt x="786257" y="246729"/>
                  <a:pt x="779780" y="242602"/>
                </a:cubicBezTo>
                <a:lnTo>
                  <a:pt x="405447" y="2508"/>
                </a:lnTo>
                <a:cubicBezTo>
                  <a:pt x="400304" y="-793"/>
                  <a:pt x="393764" y="-857"/>
                  <a:pt x="388557" y="2445"/>
                </a:cubicBezTo>
                <a:cubicBezTo>
                  <a:pt x="287972" y="66072"/>
                  <a:pt x="64262" y="208757"/>
                  <a:pt x="11620" y="242284"/>
                </a:cubicBezTo>
                <a:cubicBezTo>
                  <a:pt x="4699" y="246666"/>
                  <a:pt x="127" y="254286"/>
                  <a:pt x="0" y="262477"/>
                </a:cubicBezTo>
                <a:lnTo>
                  <a:pt x="0" y="304832"/>
                </a:lnTo>
                <a:cubicBezTo>
                  <a:pt x="0" y="304832"/>
                  <a:pt x="127" y="366681"/>
                  <a:pt x="127" y="366681"/>
                </a:cubicBez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9342563B-307A-0D93-CEBC-E69CA8712E31}"/>
              </a:ext>
            </a:extLst>
          </p:cNvPr>
          <p:cNvSpPr/>
          <p:nvPr userDrawn="1"/>
        </p:nvSpPr>
        <p:spPr>
          <a:xfrm>
            <a:off x="4792979" y="5161335"/>
            <a:ext cx="790892" cy="956907"/>
          </a:xfrm>
          <a:custGeom>
            <a:avLst/>
            <a:gdLst>
              <a:gd name="connsiteX0" fmla="*/ 19304 w 790892"/>
              <a:gd name="connsiteY0" fmla="*/ 956128 h 956907"/>
              <a:gd name="connsiteX1" fmla="*/ 445 w 790892"/>
              <a:gd name="connsiteY1" fmla="*/ 942602 h 956907"/>
              <a:gd name="connsiteX2" fmla="*/ 127 w 790892"/>
              <a:gd name="connsiteY2" fmla="*/ 366593 h 956907"/>
              <a:gd name="connsiteX3" fmla="*/ 0 w 790892"/>
              <a:gd name="connsiteY3" fmla="*/ 304744 h 956907"/>
              <a:gd name="connsiteX4" fmla="*/ 0 w 790892"/>
              <a:gd name="connsiteY4" fmla="*/ 262390 h 956907"/>
              <a:gd name="connsiteX5" fmla="*/ 11621 w 790892"/>
              <a:gd name="connsiteY5" fmla="*/ 242261 h 956907"/>
              <a:gd name="connsiteX6" fmla="*/ 388557 w 790892"/>
              <a:gd name="connsiteY6" fmla="*/ 2421 h 956907"/>
              <a:gd name="connsiteX7" fmla="*/ 405448 w 790892"/>
              <a:gd name="connsiteY7" fmla="*/ 2485 h 956907"/>
              <a:gd name="connsiteX8" fmla="*/ 779780 w 790892"/>
              <a:gd name="connsiteY8" fmla="*/ 242578 h 956907"/>
              <a:gd name="connsiteX9" fmla="*/ 790766 w 790892"/>
              <a:gd name="connsiteY9" fmla="*/ 261311 h 956907"/>
              <a:gd name="connsiteX10" fmla="*/ 790766 w 790892"/>
              <a:gd name="connsiteY10" fmla="*/ 295093 h 956907"/>
              <a:gd name="connsiteX11" fmla="*/ 790892 w 790892"/>
              <a:gd name="connsiteY11" fmla="*/ 364435 h 956907"/>
              <a:gd name="connsiteX12" fmla="*/ 790892 w 790892"/>
              <a:gd name="connsiteY12" fmla="*/ 942602 h 956907"/>
              <a:gd name="connsiteX13" fmla="*/ 772097 w 790892"/>
              <a:gd name="connsiteY13" fmla="*/ 956064 h 956907"/>
              <a:gd name="connsiteX14" fmla="*/ 405321 w 790892"/>
              <a:gd name="connsiteY14" fmla="*/ 830715 h 956907"/>
              <a:gd name="connsiteX15" fmla="*/ 386334 w 790892"/>
              <a:gd name="connsiteY15" fmla="*/ 830715 h 956907"/>
              <a:gd name="connsiteX16" fmla="*/ 19367 w 790892"/>
              <a:gd name="connsiteY16" fmla="*/ 956000 h 956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90892" h="956907">
                <a:moveTo>
                  <a:pt x="19304" y="956128"/>
                </a:moveTo>
                <a:cubicBezTo>
                  <a:pt x="10097" y="959303"/>
                  <a:pt x="508" y="952381"/>
                  <a:pt x="445" y="942602"/>
                </a:cubicBezTo>
                <a:cubicBezTo>
                  <a:pt x="127" y="674378"/>
                  <a:pt x="127" y="625800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9"/>
                  <a:pt x="4699" y="246642"/>
                  <a:pt x="11621" y="242261"/>
                </a:cubicBezTo>
                <a:cubicBezTo>
                  <a:pt x="64262" y="208732"/>
                  <a:pt x="288036" y="66048"/>
                  <a:pt x="388557" y="2421"/>
                </a:cubicBezTo>
                <a:cubicBezTo>
                  <a:pt x="393700" y="-818"/>
                  <a:pt x="400304" y="-818"/>
                  <a:pt x="405448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3"/>
                </a:lnTo>
                <a:cubicBezTo>
                  <a:pt x="790766" y="295093"/>
                  <a:pt x="790892" y="364435"/>
                  <a:pt x="790892" y="364435"/>
                </a:cubicBezTo>
                <a:lnTo>
                  <a:pt x="790892" y="942602"/>
                </a:lnTo>
                <a:cubicBezTo>
                  <a:pt x="790892" y="952381"/>
                  <a:pt x="781304" y="959239"/>
                  <a:pt x="772097" y="956064"/>
                </a:cubicBezTo>
                <a:lnTo>
                  <a:pt x="405321" y="830715"/>
                </a:lnTo>
                <a:cubicBezTo>
                  <a:pt x="399161" y="828619"/>
                  <a:pt x="392494" y="828619"/>
                  <a:pt x="386334" y="830715"/>
                </a:cubicBezTo>
                <a:lnTo>
                  <a:pt x="19367" y="95600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1B5F1F22-1B8B-86C0-243D-C6C15B30CFC1}"/>
              </a:ext>
            </a:extLst>
          </p:cNvPr>
          <p:cNvSpPr/>
          <p:nvPr userDrawn="1"/>
        </p:nvSpPr>
        <p:spPr>
          <a:xfrm>
            <a:off x="4792916" y="6118383"/>
            <a:ext cx="790955" cy="484219"/>
          </a:xfrm>
          <a:custGeom>
            <a:avLst/>
            <a:gdLst>
              <a:gd name="connsiteX0" fmla="*/ 191 w 790955"/>
              <a:gd name="connsiteY0" fmla="*/ 366554 h 484219"/>
              <a:gd name="connsiteX1" fmla="*/ 191 w 790955"/>
              <a:gd name="connsiteY1" fmla="*/ 459835 h 484219"/>
              <a:gd name="connsiteX2" fmla="*/ 24574 w 790955"/>
              <a:gd name="connsiteY2" fmla="*/ 484220 h 484219"/>
              <a:gd name="connsiteX3" fmla="*/ 766572 w 790955"/>
              <a:gd name="connsiteY3" fmla="*/ 484220 h 484219"/>
              <a:gd name="connsiteX4" fmla="*/ 790956 w 790955"/>
              <a:gd name="connsiteY4" fmla="*/ 459835 h 484219"/>
              <a:gd name="connsiteX5" fmla="*/ 790956 w 790955"/>
              <a:gd name="connsiteY5" fmla="*/ 364458 h 484219"/>
              <a:gd name="connsiteX6" fmla="*/ 790829 w 790955"/>
              <a:gd name="connsiteY6" fmla="*/ 295116 h 484219"/>
              <a:gd name="connsiteX7" fmla="*/ 790829 w 790955"/>
              <a:gd name="connsiteY7" fmla="*/ 261334 h 484219"/>
              <a:gd name="connsiteX8" fmla="*/ 779780 w 790955"/>
              <a:gd name="connsiteY8" fmla="*/ 242602 h 484219"/>
              <a:gd name="connsiteX9" fmla="*/ 405448 w 790955"/>
              <a:gd name="connsiteY9" fmla="*/ 2508 h 484219"/>
              <a:gd name="connsiteX10" fmla="*/ 388557 w 790955"/>
              <a:gd name="connsiteY10" fmla="*/ 2445 h 484219"/>
              <a:gd name="connsiteX11" fmla="*/ 11621 w 790955"/>
              <a:gd name="connsiteY11" fmla="*/ 242284 h 484219"/>
              <a:gd name="connsiteX12" fmla="*/ 0 w 790955"/>
              <a:gd name="connsiteY12" fmla="*/ 262477 h 484219"/>
              <a:gd name="connsiteX13" fmla="*/ 0 w 790955"/>
              <a:gd name="connsiteY13" fmla="*/ 304832 h 484219"/>
              <a:gd name="connsiteX14" fmla="*/ 127 w 790955"/>
              <a:gd name="connsiteY14" fmla="*/ 366681 h 48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90955" h="484219">
                <a:moveTo>
                  <a:pt x="191" y="366554"/>
                </a:moveTo>
                <a:cubicBezTo>
                  <a:pt x="191" y="401098"/>
                  <a:pt x="191" y="431769"/>
                  <a:pt x="191" y="459835"/>
                </a:cubicBezTo>
                <a:cubicBezTo>
                  <a:pt x="191" y="473298"/>
                  <a:pt x="11113" y="484220"/>
                  <a:pt x="24574" y="484220"/>
                </a:cubicBezTo>
                <a:lnTo>
                  <a:pt x="766572" y="484220"/>
                </a:lnTo>
                <a:cubicBezTo>
                  <a:pt x="780034" y="484220"/>
                  <a:pt x="790956" y="473298"/>
                  <a:pt x="790956" y="459835"/>
                </a:cubicBezTo>
                <a:lnTo>
                  <a:pt x="790956" y="364458"/>
                </a:lnTo>
                <a:lnTo>
                  <a:pt x="790829" y="295116"/>
                </a:lnTo>
                <a:lnTo>
                  <a:pt x="790829" y="261334"/>
                </a:lnTo>
                <a:cubicBezTo>
                  <a:pt x="790194" y="253714"/>
                  <a:pt x="786257" y="246729"/>
                  <a:pt x="779780" y="242602"/>
                </a:cubicBezTo>
                <a:lnTo>
                  <a:pt x="405448" y="2508"/>
                </a:lnTo>
                <a:cubicBezTo>
                  <a:pt x="400304" y="-793"/>
                  <a:pt x="393764" y="-857"/>
                  <a:pt x="388557" y="2445"/>
                </a:cubicBezTo>
                <a:cubicBezTo>
                  <a:pt x="287973" y="66072"/>
                  <a:pt x="64262" y="208757"/>
                  <a:pt x="11621" y="242284"/>
                </a:cubicBezTo>
                <a:cubicBezTo>
                  <a:pt x="4699" y="246666"/>
                  <a:pt x="127" y="254286"/>
                  <a:pt x="0" y="262477"/>
                </a:cubicBezTo>
                <a:lnTo>
                  <a:pt x="0" y="304832"/>
                </a:lnTo>
                <a:cubicBezTo>
                  <a:pt x="0" y="304832"/>
                  <a:pt x="127" y="366681"/>
                  <a:pt x="127" y="366681"/>
                </a:cubicBez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FE3D3AC1-78B3-F93A-CB9C-0D63621FCFE4}"/>
              </a:ext>
            </a:extLst>
          </p:cNvPr>
          <p:cNvSpPr/>
          <p:nvPr userDrawn="1"/>
        </p:nvSpPr>
        <p:spPr>
          <a:xfrm>
            <a:off x="5700585" y="5639998"/>
            <a:ext cx="790892" cy="962541"/>
          </a:xfrm>
          <a:custGeom>
            <a:avLst/>
            <a:gdLst>
              <a:gd name="connsiteX0" fmla="*/ 676211 w 790892"/>
              <a:gd name="connsiteY0" fmla="*/ 962478 h 962541"/>
              <a:gd name="connsiteX1" fmla="*/ 24892 w 790892"/>
              <a:gd name="connsiteY1" fmla="*/ 962478 h 962541"/>
              <a:gd name="connsiteX2" fmla="*/ 445 w 790892"/>
              <a:gd name="connsiteY2" fmla="*/ 938030 h 962541"/>
              <a:gd name="connsiteX3" fmla="*/ 127 w 790892"/>
              <a:gd name="connsiteY3" fmla="*/ 366593 h 962541"/>
              <a:gd name="connsiteX4" fmla="*/ 0 w 790892"/>
              <a:gd name="connsiteY4" fmla="*/ 304744 h 962541"/>
              <a:gd name="connsiteX5" fmla="*/ 0 w 790892"/>
              <a:gd name="connsiteY5" fmla="*/ 262390 h 962541"/>
              <a:gd name="connsiteX6" fmla="*/ 11621 w 790892"/>
              <a:gd name="connsiteY6" fmla="*/ 242261 h 962541"/>
              <a:gd name="connsiteX7" fmla="*/ 388557 w 790892"/>
              <a:gd name="connsiteY7" fmla="*/ 2421 h 962541"/>
              <a:gd name="connsiteX8" fmla="*/ 405448 w 790892"/>
              <a:gd name="connsiteY8" fmla="*/ 2485 h 962541"/>
              <a:gd name="connsiteX9" fmla="*/ 779780 w 790892"/>
              <a:gd name="connsiteY9" fmla="*/ 242578 h 962541"/>
              <a:gd name="connsiteX10" fmla="*/ 790766 w 790892"/>
              <a:gd name="connsiteY10" fmla="*/ 261311 h 962541"/>
              <a:gd name="connsiteX11" fmla="*/ 790766 w 790892"/>
              <a:gd name="connsiteY11" fmla="*/ 295092 h 962541"/>
              <a:gd name="connsiteX12" fmla="*/ 790893 w 790892"/>
              <a:gd name="connsiteY12" fmla="*/ 364435 h 962541"/>
              <a:gd name="connsiteX13" fmla="*/ 790893 w 790892"/>
              <a:gd name="connsiteY13" fmla="*/ 938157 h 962541"/>
              <a:gd name="connsiteX14" fmla="*/ 766509 w 790892"/>
              <a:gd name="connsiteY14" fmla="*/ 962541 h 962541"/>
              <a:gd name="connsiteX15" fmla="*/ 676211 w 790892"/>
              <a:gd name="connsiteY15" fmla="*/ 962541 h 96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90892" h="962541">
                <a:moveTo>
                  <a:pt x="676211" y="962478"/>
                </a:moveTo>
                <a:lnTo>
                  <a:pt x="24892" y="962478"/>
                </a:lnTo>
                <a:cubicBezTo>
                  <a:pt x="11493" y="962478"/>
                  <a:pt x="445" y="951429"/>
                  <a:pt x="445" y="938030"/>
                </a:cubicBezTo>
                <a:cubicBezTo>
                  <a:pt x="127" y="673806"/>
                  <a:pt x="127" y="624277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8"/>
                  <a:pt x="4699" y="246642"/>
                  <a:pt x="11621" y="242261"/>
                </a:cubicBezTo>
                <a:cubicBezTo>
                  <a:pt x="64262" y="208732"/>
                  <a:pt x="288036" y="66048"/>
                  <a:pt x="388557" y="2421"/>
                </a:cubicBezTo>
                <a:cubicBezTo>
                  <a:pt x="393700" y="-818"/>
                  <a:pt x="400304" y="-818"/>
                  <a:pt x="405448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2"/>
                </a:lnTo>
                <a:cubicBezTo>
                  <a:pt x="790766" y="295092"/>
                  <a:pt x="790893" y="364435"/>
                  <a:pt x="790893" y="364435"/>
                </a:cubicBezTo>
                <a:lnTo>
                  <a:pt x="790893" y="938157"/>
                </a:lnTo>
                <a:cubicBezTo>
                  <a:pt x="790893" y="951619"/>
                  <a:pt x="779971" y="962541"/>
                  <a:pt x="766509" y="962541"/>
                </a:cubicBezTo>
                <a:lnTo>
                  <a:pt x="676211" y="962541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0" name="Freeform 19">
            <a:extLst>
              <a:ext uri="{FF2B5EF4-FFF2-40B4-BE49-F238E27FC236}">
                <a16:creationId xmlns:a16="http://schemas.microsoft.com/office/drawing/2014/main" id="{7C84519B-8AA4-1B20-EED7-3CC5EE1E8F18}"/>
              </a:ext>
            </a:extLst>
          </p:cNvPr>
          <p:cNvSpPr/>
          <p:nvPr userDrawn="1"/>
        </p:nvSpPr>
        <p:spPr>
          <a:xfrm>
            <a:off x="7515732" y="5639998"/>
            <a:ext cx="790892" cy="962541"/>
          </a:xfrm>
          <a:custGeom>
            <a:avLst/>
            <a:gdLst>
              <a:gd name="connsiteX0" fmla="*/ 676211 w 790892"/>
              <a:gd name="connsiteY0" fmla="*/ 962478 h 962541"/>
              <a:gd name="connsiteX1" fmla="*/ 24892 w 790892"/>
              <a:gd name="connsiteY1" fmla="*/ 962478 h 962541"/>
              <a:gd name="connsiteX2" fmla="*/ 445 w 790892"/>
              <a:gd name="connsiteY2" fmla="*/ 938030 h 962541"/>
              <a:gd name="connsiteX3" fmla="*/ 127 w 790892"/>
              <a:gd name="connsiteY3" fmla="*/ 366593 h 962541"/>
              <a:gd name="connsiteX4" fmla="*/ 0 w 790892"/>
              <a:gd name="connsiteY4" fmla="*/ 304744 h 962541"/>
              <a:gd name="connsiteX5" fmla="*/ 0 w 790892"/>
              <a:gd name="connsiteY5" fmla="*/ 262390 h 962541"/>
              <a:gd name="connsiteX6" fmla="*/ 11621 w 790892"/>
              <a:gd name="connsiteY6" fmla="*/ 242261 h 962541"/>
              <a:gd name="connsiteX7" fmla="*/ 388557 w 790892"/>
              <a:gd name="connsiteY7" fmla="*/ 2421 h 962541"/>
              <a:gd name="connsiteX8" fmla="*/ 405448 w 790892"/>
              <a:gd name="connsiteY8" fmla="*/ 2485 h 962541"/>
              <a:gd name="connsiteX9" fmla="*/ 779780 w 790892"/>
              <a:gd name="connsiteY9" fmla="*/ 242578 h 962541"/>
              <a:gd name="connsiteX10" fmla="*/ 790766 w 790892"/>
              <a:gd name="connsiteY10" fmla="*/ 261311 h 962541"/>
              <a:gd name="connsiteX11" fmla="*/ 790766 w 790892"/>
              <a:gd name="connsiteY11" fmla="*/ 295092 h 962541"/>
              <a:gd name="connsiteX12" fmla="*/ 790893 w 790892"/>
              <a:gd name="connsiteY12" fmla="*/ 364435 h 962541"/>
              <a:gd name="connsiteX13" fmla="*/ 790893 w 790892"/>
              <a:gd name="connsiteY13" fmla="*/ 938157 h 962541"/>
              <a:gd name="connsiteX14" fmla="*/ 766509 w 790892"/>
              <a:gd name="connsiteY14" fmla="*/ 962541 h 962541"/>
              <a:gd name="connsiteX15" fmla="*/ 676211 w 790892"/>
              <a:gd name="connsiteY15" fmla="*/ 962541 h 96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90892" h="962541">
                <a:moveTo>
                  <a:pt x="676211" y="962478"/>
                </a:moveTo>
                <a:lnTo>
                  <a:pt x="24892" y="962478"/>
                </a:lnTo>
                <a:cubicBezTo>
                  <a:pt x="11494" y="962478"/>
                  <a:pt x="445" y="951429"/>
                  <a:pt x="445" y="938030"/>
                </a:cubicBezTo>
                <a:cubicBezTo>
                  <a:pt x="127" y="673806"/>
                  <a:pt x="127" y="624277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8"/>
                  <a:pt x="4699" y="246642"/>
                  <a:pt x="11621" y="242261"/>
                </a:cubicBezTo>
                <a:cubicBezTo>
                  <a:pt x="64262" y="208732"/>
                  <a:pt x="288036" y="66048"/>
                  <a:pt x="388557" y="2421"/>
                </a:cubicBezTo>
                <a:cubicBezTo>
                  <a:pt x="393700" y="-818"/>
                  <a:pt x="400304" y="-818"/>
                  <a:pt x="405448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2"/>
                </a:lnTo>
                <a:cubicBezTo>
                  <a:pt x="790766" y="295092"/>
                  <a:pt x="790893" y="364435"/>
                  <a:pt x="790893" y="364435"/>
                </a:cubicBezTo>
                <a:lnTo>
                  <a:pt x="790893" y="938157"/>
                </a:lnTo>
                <a:cubicBezTo>
                  <a:pt x="790893" y="951619"/>
                  <a:pt x="779971" y="962541"/>
                  <a:pt x="766509" y="962541"/>
                </a:cubicBezTo>
                <a:lnTo>
                  <a:pt x="676211" y="962541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126F88B8-0C82-E22A-88C2-463C85B58680}"/>
              </a:ext>
            </a:extLst>
          </p:cNvPr>
          <p:cNvSpPr/>
          <p:nvPr userDrawn="1"/>
        </p:nvSpPr>
        <p:spPr>
          <a:xfrm>
            <a:off x="9330880" y="5639998"/>
            <a:ext cx="790892" cy="962541"/>
          </a:xfrm>
          <a:custGeom>
            <a:avLst/>
            <a:gdLst>
              <a:gd name="connsiteX0" fmla="*/ 676211 w 790892"/>
              <a:gd name="connsiteY0" fmla="*/ 962478 h 962541"/>
              <a:gd name="connsiteX1" fmla="*/ 24892 w 790892"/>
              <a:gd name="connsiteY1" fmla="*/ 962478 h 962541"/>
              <a:gd name="connsiteX2" fmla="*/ 444 w 790892"/>
              <a:gd name="connsiteY2" fmla="*/ 938030 h 962541"/>
              <a:gd name="connsiteX3" fmla="*/ 126 w 790892"/>
              <a:gd name="connsiteY3" fmla="*/ 366593 h 962541"/>
              <a:gd name="connsiteX4" fmla="*/ 0 w 790892"/>
              <a:gd name="connsiteY4" fmla="*/ 304744 h 962541"/>
              <a:gd name="connsiteX5" fmla="*/ 0 w 790892"/>
              <a:gd name="connsiteY5" fmla="*/ 262390 h 962541"/>
              <a:gd name="connsiteX6" fmla="*/ 11620 w 790892"/>
              <a:gd name="connsiteY6" fmla="*/ 242261 h 962541"/>
              <a:gd name="connsiteX7" fmla="*/ 388556 w 790892"/>
              <a:gd name="connsiteY7" fmla="*/ 2421 h 962541"/>
              <a:gd name="connsiteX8" fmla="*/ 405447 w 790892"/>
              <a:gd name="connsiteY8" fmla="*/ 2485 h 962541"/>
              <a:gd name="connsiteX9" fmla="*/ 779780 w 790892"/>
              <a:gd name="connsiteY9" fmla="*/ 242578 h 962541"/>
              <a:gd name="connsiteX10" fmla="*/ 790765 w 790892"/>
              <a:gd name="connsiteY10" fmla="*/ 261311 h 962541"/>
              <a:gd name="connsiteX11" fmla="*/ 790765 w 790892"/>
              <a:gd name="connsiteY11" fmla="*/ 295092 h 962541"/>
              <a:gd name="connsiteX12" fmla="*/ 790892 w 790892"/>
              <a:gd name="connsiteY12" fmla="*/ 364435 h 962541"/>
              <a:gd name="connsiteX13" fmla="*/ 790892 w 790892"/>
              <a:gd name="connsiteY13" fmla="*/ 938157 h 962541"/>
              <a:gd name="connsiteX14" fmla="*/ 766508 w 790892"/>
              <a:gd name="connsiteY14" fmla="*/ 962541 h 962541"/>
              <a:gd name="connsiteX15" fmla="*/ 676211 w 790892"/>
              <a:gd name="connsiteY15" fmla="*/ 962541 h 96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90892" h="962541">
                <a:moveTo>
                  <a:pt x="676211" y="962478"/>
                </a:moveTo>
                <a:lnTo>
                  <a:pt x="24892" y="962478"/>
                </a:lnTo>
                <a:cubicBezTo>
                  <a:pt x="11493" y="962478"/>
                  <a:pt x="444" y="951429"/>
                  <a:pt x="444" y="938030"/>
                </a:cubicBezTo>
                <a:cubicBezTo>
                  <a:pt x="126" y="673806"/>
                  <a:pt x="126" y="624277"/>
                  <a:pt x="126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6" y="254198"/>
                  <a:pt x="4699" y="246642"/>
                  <a:pt x="11620" y="242261"/>
                </a:cubicBezTo>
                <a:cubicBezTo>
                  <a:pt x="64262" y="208732"/>
                  <a:pt x="288036" y="66048"/>
                  <a:pt x="388556" y="2421"/>
                </a:cubicBezTo>
                <a:cubicBezTo>
                  <a:pt x="393700" y="-818"/>
                  <a:pt x="400303" y="-818"/>
                  <a:pt x="405447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5" y="261311"/>
                </a:cubicBezTo>
                <a:lnTo>
                  <a:pt x="790765" y="295092"/>
                </a:lnTo>
                <a:cubicBezTo>
                  <a:pt x="790765" y="295092"/>
                  <a:pt x="790892" y="364435"/>
                  <a:pt x="790892" y="364435"/>
                </a:cubicBezTo>
                <a:lnTo>
                  <a:pt x="790892" y="938157"/>
                </a:lnTo>
                <a:cubicBezTo>
                  <a:pt x="790892" y="951619"/>
                  <a:pt x="779970" y="962541"/>
                  <a:pt x="766508" y="962541"/>
                </a:cubicBezTo>
                <a:lnTo>
                  <a:pt x="676211" y="962541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FD729846-2315-2B1C-0414-74FA00B6EED9}"/>
              </a:ext>
            </a:extLst>
          </p:cNvPr>
          <p:cNvSpPr/>
          <p:nvPr userDrawn="1"/>
        </p:nvSpPr>
        <p:spPr>
          <a:xfrm>
            <a:off x="11146028" y="5639998"/>
            <a:ext cx="790892" cy="962541"/>
          </a:xfrm>
          <a:custGeom>
            <a:avLst/>
            <a:gdLst>
              <a:gd name="connsiteX0" fmla="*/ 676211 w 790892"/>
              <a:gd name="connsiteY0" fmla="*/ 962478 h 962541"/>
              <a:gd name="connsiteX1" fmla="*/ 24892 w 790892"/>
              <a:gd name="connsiteY1" fmla="*/ 962478 h 962541"/>
              <a:gd name="connsiteX2" fmla="*/ 444 w 790892"/>
              <a:gd name="connsiteY2" fmla="*/ 938030 h 962541"/>
              <a:gd name="connsiteX3" fmla="*/ 127 w 790892"/>
              <a:gd name="connsiteY3" fmla="*/ 366593 h 962541"/>
              <a:gd name="connsiteX4" fmla="*/ 0 w 790892"/>
              <a:gd name="connsiteY4" fmla="*/ 304744 h 962541"/>
              <a:gd name="connsiteX5" fmla="*/ 0 w 790892"/>
              <a:gd name="connsiteY5" fmla="*/ 262390 h 962541"/>
              <a:gd name="connsiteX6" fmla="*/ 11620 w 790892"/>
              <a:gd name="connsiteY6" fmla="*/ 242261 h 962541"/>
              <a:gd name="connsiteX7" fmla="*/ 388556 w 790892"/>
              <a:gd name="connsiteY7" fmla="*/ 2421 h 962541"/>
              <a:gd name="connsiteX8" fmla="*/ 405447 w 790892"/>
              <a:gd name="connsiteY8" fmla="*/ 2485 h 962541"/>
              <a:gd name="connsiteX9" fmla="*/ 779780 w 790892"/>
              <a:gd name="connsiteY9" fmla="*/ 242578 h 962541"/>
              <a:gd name="connsiteX10" fmla="*/ 790766 w 790892"/>
              <a:gd name="connsiteY10" fmla="*/ 261311 h 962541"/>
              <a:gd name="connsiteX11" fmla="*/ 790766 w 790892"/>
              <a:gd name="connsiteY11" fmla="*/ 295092 h 962541"/>
              <a:gd name="connsiteX12" fmla="*/ 790892 w 790892"/>
              <a:gd name="connsiteY12" fmla="*/ 364435 h 962541"/>
              <a:gd name="connsiteX13" fmla="*/ 790892 w 790892"/>
              <a:gd name="connsiteY13" fmla="*/ 938157 h 962541"/>
              <a:gd name="connsiteX14" fmla="*/ 766508 w 790892"/>
              <a:gd name="connsiteY14" fmla="*/ 962541 h 962541"/>
              <a:gd name="connsiteX15" fmla="*/ 676211 w 790892"/>
              <a:gd name="connsiteY15" fmla="*/ 962541 h 96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90892" h="962541">
                <a:moveTo>
                  <a:pt x="676211" y="962478"/>
                </a:moveTo>
                <a:lnTo>
                  <a:pt x="24892" y="962478"/>
                </a:lnTo>
                <a:cubicBezTo>
                  <a:pt x="11493" y="962478"/>
                  <a:pt x="444" y="951429"/>
                  <a:pt x="444" y="938030"/>
                </a:cubicBezTo>
                <a:cubicBezTo>
                  <a:pt x="127" y="673806"/>
                  <a:pt x="127" y="624277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8"/>
                  <a:pt x="4699" y="246642"/>
                  <a:pt x="11620" y="242261"/>
                </a:cubicBezTo>
                <a:cubicBezTo>
                  <a:pt x="64262" y="208732"/>
                  <a:pt x="288036" y="66048"/>
                  <a:pt x="388556" y="2421"/>
                </a:cubicBezTo>
                <a:cubicBezTo>
                  <a:pt x="393700" y="-818"/>
                  <a:pt x="400303" y="-818"/>
                  <a:pt x="405447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2"/>
                </a:lnTo>
                <a:cubicBezTo>
                  <a:pt x="790766" y="295092"/>
                  <a:pt x="790892" y="364435"/>
                  <a:pt x="790892" y="364435"/>
                </a:cubicBezTo>
                <a:lnTo>
                  <a:pt x="790892" y="938157"/>
                </a:lnTo>
                <a:cubicBezTo>
                  <a:pt x="790892" y="951619"/>
                  <a:pt x="779970" y="962541"/>
                  <a:pt x="766508" y="962541"/>
                </a:cubicBezTo>
                <a:lnTo>
                  <a:pt x="676211" y="962541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46B4C632-0B9E-DA5E-9271-896DDD4CCB45}"/>
              </a:ext>
            </a:extLst>
          </p:cNvPr>
          <p:cNvSpPr/>
          <p:nvPr userDrawn="1"/>
        </p:nvSpPr>
        <p:spPr>
          <a:xfrm>
            <a:off x="6608127" y="5161335"/>
            <a:ext cx="790892" cy="956907"/>
          </a:xfrm>
          <a:custGeom>
            <a:avLst/>
            <a:gdLst>
              <a:gd name="connsiteX0" fmla="*/ 19303 w 790892"/>
              <a:gd name="connsiteY0" fmla="*/ 956128 h 956907"/>
              <a:gd name="connsiteX1" fmla="*/ 444 w 790892"/>
              <a:gd name="connsiteY1" fmla="*/ 942602 h 956907"/>
              <a:gd name="connsiteX2" fmla="*/ 127 w 790892"/>
              <a:gd name="connsiteY2" fmla="*/ 366593 h 956907"/>
              <a:gd name="connsiteX3" fmla="*/ 0 w 790892"/>
              <a:gd name="connsiteY3" fmla="*/ 304744 h 956907"/>
              <a:gd name="connsiteX4" fmla="*/ 0 w 790892"/>
              <a:gd name="connsiteY4" fmla="*/ 262390 h 956907"/>
              <a:gd name="connsiteX5" fmla="*/ 11620 w 790892"/>
              <a:gd name="connsiteY5" fmla="*/ 242261 h 956907"/>
              <a:gd name="connsiteX6" fmla="*/ 388556 w 790892"/>
              <a:gd name="connsiteY6" fmla="*/ 2421 h 956907"/>
              <a:gd name="connsiteX7" fmla="*/ 405447 w 790892"/>
              <a:gd name="connsiteY7" fmla="*/ 2485 h 956907"/>
              <a:gd name="connsiteX8" fmla="*/ 779780 w 790892"/>
              <a:gd name="connsiteY8" fmla="*/ 242578 h 956907"/>
              <a:gd name="connsiteX9" fmla="*/ 790766 w 790892"/>
              <a:gd name="connsiteY9" fmla="*/ 261311 h 956907"/>
              <a:gd name="connsiteX10" fmla="*/ 790766 w 790892"/>
              <a:gd name="connsiteY10" fmla="*/ 295093 h 956907"/>
              <a:gd name="connsiteX11" fmla="*/ 790892 w 790892"/>
              <a:gd name="connsiteY11" fmla="*/ 364435 h 956907"/>
              <a:gd name="connsiteX12" fmla="*/ 790892 w 790892"/>
              <a:gd name="connsiteY12" fmla="*/ 942602 h 956907"/>
              <a:gd name="connsiteX13" fmla="*/ 772096 w 790892"/>
              <a:gd name="connsiteY13" fmla="*/ 956064 h 956907"/>
              <a:gd name="connsiteX14" fmla="*/ 405320 w 790892"/>
              <a:gd name="connsiteY14" fmla="*/ 830715 h 956907"/>
              <a:gd name="connsiteX15" fmla="*/ 386334 w 790892"/>
              <a:gd name="connsiteY15" fmla="*/ 830715 h 956907"/>
              <a:gd name="connsiteX16" fmla="*/ 19367 w 790892"/>
              <a:gd name="connsiteY16" fmla="*/ 956000 h 956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90892" h="956907">
                <a:moveTo>
                  <a:pt x="19303" y="956128"/>
                </a:moveTo>
                <a:cubicBezTo>
                  <a:pt x="10096" y="959303"/>
                  <a:pt x="508" y="952381"/>
                  <a:pt x="444" y="942602"/>
                </a:cubicBezTo>
                <a:cubicBezTo>
                  <a:pt x="127" y="674378"/>
                  <a:pt x="127" y="625800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9"/>
                  <a:pt x="4699" y="246642"/>
                  <a:pt x="11620" y="242261"/>
                </a:cubicBezTo>
                <a:cubicBezTo>
                  <a:pt x="64262" y="208732"/>
                  <a:pt x="288036" y="66048"/>
                  <a:pt x="388556" y="2421"/>
                </a:cubicBezTo>
                <a:cubicBezTo>
                  <a:pt x="393700" y="-818"/>
                  <a:pt x="400303" y="-818"/>
                  <a:pt x="405447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3"/>
                </a:lnTo>
                <a:cubicBezTo>
                  <a:pt x="790766" y="295093"/>
                  <a:pt x="790892" y="364435"/>
                  <a:pt x="790892" y="364435"/>
                </a:cubicBezTo>
                <a:lnTo>
                  <a:pt x="790892" y="942602"/>
                </a:lnTo>
                <a:cubicBezTo>
                  <a:pt x="790892" y="952381"/>
                  <a:pt x="781304" y="959239"/>
                  <a:pt x="772096" y="956064"/>
                </a:cubicBezTo>
                <a:lnTo>
                  <a:pt x="405320" y="830715"/>
                </a:lnTo>
                <a:cubicBezTo>
                  <a:pt x="399161" y="828619"/>
                  <a:pt x="392493" y="828619"/>
                  <a:pt x="386334" y="830715"/>
                </a:cubicBezTo>
                <a:lnTo>
                  <a:pt x="19367" y="95600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" name="Freeform 24">
            <a:extLst>
              <a:ext uri="{FF2B5EF4-FFF2-40B4-BE49-F238E27FC236}">
                <a16:creationId xmlns:a16="http://schemas.microsoft.com/office/drawing/2014/main" id="{5B9FA750-C93F-AC5F-CF3C-82DDC5A103B3}"/>
              </a:ext>
            </a:extLst>
          </p:cNvPr>
          <p:cNvSpPr/>
          <p:nvPr userDrawn="1"/>
        </p:nvSpPr>
        <p:spPr>
          <a:xfrm>
            <a:off x="6608064" y="6118383"/>
            <a:ext cx="790955" cy="484219"/>
          </a:xfrm>
          <a:custGeom>
            <a:avLst/>
            <a:gdLst>
              <a:gd name="connsiteX0" fmla="*/ 191 w 790955"/>
              <a:gd name="connsiteY0" fmla="*/ 366554 h 484219"/>
              <a:gd name="connsiteX1" fmla="*/ 191 w 790955"/>
              <a:gd name="connsiteY1" fmla="*/ 459835 h 484219"/>
              <a:gd name="connsiteX2" fmla="*/ 24574 w 790955"/>
              <a:gd name="connsiteY2" fmla="*/ 484220 h 484219"/>
              <a:gd name="connsiteX3" fmla="*/ 766572 w 790955"/>
              <a:gd name="connsiteY3" fmla="*/ 484220 h 484219"/>
              <a:gd name="connsiteX4" fmla="*/ 790956 w 790955"/>
              <a:gd name="connsiteY4" fmla="*/ 459835 h 484219"/>
              <a:gd name="connsiteX5" fmla="*/ 790956 w 790955"/>
              <a:gd name="connsiteY5" fmla="*/ 364458 h 484219"/>
              <a:gd name="connsiteX6" fmla="*/ 790829 w 790955"/>
              <a:gd name="connsiteY6" fmla="*/ 295116 h 484219"/>
              <a:gd name="connsiteX7" fmla="*/ 790829 w 790955"/>
              <a:gd name="connsiteY7" fmla="*/ 261334 h 484219"/>
              <a:gd name="connsiteX8" fmla="*/ 779780 w 790955"/>
              <a:gd name="connsiteY8" fmla="*/ 242602 h 484219"/>
              <a:gd name="connsiteX9" fmla="*/ 405447 w 790955"/>
              <a:gd name="connsiteY9" fmla="*/ 2508 h 484219"/>
              <a:gd name="connsiteX10" fmla="*/ 388556 w 790955"/>
              <a:gd name="connsiteY10" fmla="*/ 2445 h 484219"/>
              <a:gd name="connsiteX11" fmla="*/ 11620 w 790955"/>
              <a:gd name="connsiteY11" fmla="*/ 242284 h 484219"/>
              <a:gd name="connsiteX12" fmla="*/ 0 w 790955"/>
              <a:gd name="connsiteY12" fmla="*/ 262477 h 484219"/>
              <a:gd name="connsiteX13" fmla="*/ 0 w 790955"/>
              <a:gd name="connsiteY13" fmla="*/ 304832 h 484219"/>
              <a:gd name="connsiteX14" fmla="*/ 127 w 790955"/>
              <a:gd name="connsiteY14" fmla="*/ 366681 h 48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90955" h="484219">
                <a:moveTo>
                  <a:pt x="191" y="366554"/>
                </a:moveTo>
                <a:cubicBezTo>
                  <a:pt x="191" y="401098"/>
                  <a:pt x="191" y="431769"/>
                  <a:pt x="191" y="459835"/>
                </a:cubicBezTo>
                <a:cubicBezTo>
                  <a:pt x="191" y="473298"/>
                  <a:pt x="11113" y="484220"/>
                  <a:pt x="24574" y="484220"/>
                </a:cubicBezTo>
                <a:lnTo>
                  <a:pt x="766572" y="484220"/>
                </a:lnTo>
                <a:cubicBezTo>
                  <a:pt x="780034" y="484220"/>
                  <a:pt x="790956" y="473298"/>
                  <a:pt x="790956" y="459835"/>
                </a:cubicBezTo>
                <a:lnTo>
                  <a:pt x="790956" y="364458"/>
                </a:lnTo>
                <a:lnTo>
                  <a:pt x="790829" y="295116"/>
                </a:lnTo>
                <a:lnTo>
                  <a:pt x="790829" y="261334"/>
                </a:lnTo>
                <a:cubicBezTo>
                  <a:pt x="790194" y="253714"/>
                  <a:pt x="786257" y="246729"/>
                  <a:pt x="779780" y="242602"/>
                </a:cubicBezTo>
                <a:lnTo>
                  <a:pt x="405447" y="2508"/>
                </a:lnTo>
                <a:cubicBezTo>
                  <a:pt x="400304" y="-793"/>
                  <a:pt x="393764" y="-857"/>
                  <a:pt x="388556" y="2445"/>
                </a:cubicBezTo>
                <a:cubicBezTo>
                  <a:pt x="287972" y="66072"/>
                  <a:pt x="64262" y="208757"/>
                  <a:pt x="11620" y="242284"/>
                </a:cubicBezTo>
                <a:cubicBezTo>
                  <a:pt x="4699" y="246666"/>
                  <a:pt x="127" y="254286"/>
                  <a:pt x="0" y="262477"/>
                </a:cubicBezTo>
                <a:lnTo>
                  <a:pt x="0" y="304832"/>
                </a:lnTo>
                <a:cubicBezTo>
                  <a:pt x="0" y="304832"/>
                  <a:pt x="127" y="366681"/>
                  <a:pt x="127" y="366681"/>
                </a:cubicBez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95483455-7515-0E9E-F2FA-7C0E4E9D71A2}"/>
              </a:ext>
            </a:extLst>
          </p:cNvPr>
          <p:cNvSpPr/>
          <p:nvPr userDrawn="1"/>
        </p:nvSpPr>
        <p:spPr>
          <a:xfrm>
            <a:off x="8423275" y="5161335"/>
            <a:ext cx="790892" cy="956907"/>
          </a:xfrm>
          <a:custGeom>
            <a:avLst/>
            <a:gdLst>
              <a:gd name="connsiteX0" fmla="*/ 19304 w 790892"/>
              <a:gd name="connsiteY0" fmla="*/ 956128 h 956907"/>
              <a:gd name="connsiteX1" fmla="*/ 444 w 790892"/>
              <a:gd name="connsiteY1" fmla="*/ 942602 h 956907"/>
              <a:gd name="connsiteX2" fmla="*/ 127 w 790892"/>
              <a:gd name="connsiteY2" fmla="*/ 366593 h 956907"/>
              <a:gd name="connsiteX3" fmla="*/ 0 w 790892"/>
              <a:gd name="connsiteY3" fmla="*/ 304744 h 956907"/>
              <a:gd name="connsiteX4" fmla="*/ 0 w 790892"/>
              <a:gd name="connsiteY4" fmla="*/ 262390 h 956907"/>
              <a:gd name="connsiteX5" fmla="*/ 11620 w 790892"/>
              <a:gd name="connsiteY5" fmla="*/ 242261 h 956907"/>
              <a:gd name="connsiteX6" fmla="*/ 388556 w 790892"/>
              <a:gd name="connsiteY6" fmla="*/ 2421 h 956907"/>
              <a:gd name="connsiteX7" fmla="*/ 405447 w 790892"/>
              <a:gd name="connsiteY7" fmla="*/ 2485 h 956907"/>
              <a:gd name="connsiteX8" fmla="*/ 779780 w 790892"/>
              <a:gd name="connsiteY8" fmla="*/ 242578 h 956907"/>
              <a:gd name="connsiteX9" fmla="*/ 790766 w 790892"/>
              <a:gd name="connsiteY9" fmla="*/ 261311 h 956907"/>
              <a:gd name="connsiteX10" fmla="*/ 790766 w 790892"/>
              <a:gd name="connsiteY10" fmla="*/ 295093 h 956907"/>
              <a:gd name="connsiteX11" fmla="*/ 790893 w 790892"/>
              <a:gd name="connsiteY11" fmla="*/ 364435 h 956907"/>
              <a:gd name="connsiteX12" fmla="*/ 790893 w 790892"/>
              <a:gd name="connsiteY12" fmla="*/ 942602 h 956907"/>
              <a:gd name="connsiteX13" fmla="*/ 772096 w 790892"/>
              <a:gd name="connsiteY13" fmla="*/ 956064 h 956907"/>
              <a:gd name="connsiteX14" fmla="*/ 405320 w 790892"/>
              <a:gd name="connsiteY14" fmla="*/ 830715 h 956907"/>
              <a:gd name="connsiteX15" fmla="*/ 386334 w 790892"/>
              <a:gd name="connsiteY15" fmla="*/ 830715 h 956907"/>
              <a:gd name="connsiteX16" fmla="*/ 19368 w 790892"/>
              <a:gd name="connsiteY16" fmla="*/ 956000 h 956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90892" h="956907">
                <a:moveTo>
                  <a:pt x="19304" y="956128"/>
                </a:moveTo>
                <a:cubicBezTo>
                  <a:pt x="10096" y="959303"/>
                  <a:pt x="508" y="952381"/>
                  <a:pt x="444" y="942602"/>
                </a:cubicBezTo>
                <a:cubicBezTo>
                  <a:pt x="127" y="674378"/>
                  <a:pt x="127" y="625800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9"/>
                  <a:pt x="4699" y="246642"/>
                  <a:pt x="11620" y="242261"/>
                </a:cubicBezTo>
                <a:cubicBezTo>
                  <a:pt x="64262" y="208732"/>
                  <a:pt x="288036" y="66048"/>
                  <a:pt x="388556" y="2421"/>
                </a:cubicBezTo>
                <a:cubicBezTo>
                  <a:pt x="393700" y="-818"/>
                  <a:pt x="400304" y="-818"/>
                  <a:pt x="405447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3"/>
                </a:lnTo>
                <a:cubicBezTo>
                  <a:pt x="790766" y="295093"/>
                  <a:pt x="790893" y="364435"/>
                  <a:pt x="790893" y="364435"/>
                </a:cubicBezTo>
                <a:lnTo>
                  <a:pt x="790893" y="942602"/>
                </a:lnTo>
                <a:cubicBezTo>
                  <a:pt x="790893" y="952381"/>
                  <a:pt x="781304" y="959239"/>
                  <a:pt x="772096" y="956064"/>
                </a:cubicBezTo>
                <a:lnTo>
                  <a:pt x="405320" y="830715"/>
                </a:lnTo>
                <a:cubicBezTo>
                  <a:pt x="399161" y="828619"/>
                  <a:pt x="392494" y="828619"/>
                  <a:pt x="386334" y="830715"/>
                </a:cubicBezTo>
                <a:lnTo>
                  <a:pt x="19368" y="95600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7" name="Freeform 26">
            <a:extLst>
              <a:ext uri="{FF2B5EF4-FFF2-40B4-BE49-F238E27FC236}">
                <a16:creationId xmlns:a16="http://schemas.microsoft.com/office/drawing/2014/main" id="{115CA679-CAE4-7FB6-E6FD-394646ACC47C}"/>
              </a:ext>
            </a:extLst>
          </p:cNvPr>
          <p:cNvSpPr/>
          <p:nvPr userDrawn="1"/>
        </p:nvSpPr>
        <p:spPr>
          <a:xfrm>
            <a:off x="8423211" y="6118383"/>
            <a:ext cx="790956" cy="484219"/>
          </a:xfrm>
          <a:custGeom>
            <a:avLst/>
            <a:gdLst>
              <a:gd name="connsiteX0" fmla="*/ 191 w 790956"/>
              <a:gd name="connsiteY0" fmla="*/ 366554 h 484219"/>
              <a:gd name="connsiteX1" fmla="*/ 191 w 790956"/>
              <a:gd name="connsiteY1" fmla="*/ 459835 h 484219"/>
              <a:gd name="connsiteX2" fmla="*/ 24574 w 790956"/>
              <a:gd name="connsiteY2" fmla="*/ 484220 h 484219"/>
              <a:gd name="connsiteX3" fmla="*/ 766572 w 790956"/>
              <a:gd name="connsiteY3" fmla="*/ 484220 h 484219"/>
              <a:gd name="connsiteX4" fmla="*/ 790956 w 790956"/>
              <a:gd name="connsiteY4" fmla="*/ 459835 h 484219"/>
              <a:gd name="connsiteX5" fmla="*/ 790956 w 790956"/>
              <a:gd name="connsiteY5" fmla="*/ 364458 h 484219"/>
              <a:gd name="connsiteX6" fmla="*/ 790829 w 790956"/>
              <a:gd name="connsiteY6" fmla="*/ 295116 h 484219"/>
              <a:gd name="connsiteX7" fmla="*/ 790829 w 790956"/>
              <a:gd name="connsiteY7" fmla="*/ 261334 h 484219"/>
              <a:gd name="connsiteX8" fmla="*/ 779780 w 790956"/>
              <a:gd name="connsiteY8" fmla="*/ 242602 h 484219"/>
              <a:gd name="connsiteX9" fmla="*/ 405447 w 790956"/>
              <a:gd name="connsiteY9" fmla="*/ 2508 h 484219"/>
              <a:gd name="connsiteX10" fmla="*/ 388557 w 790956"/>
              <a:gd name="connsiteY10" fmla="*/ 2445 h 484219"/>
              <a:gd name="connsiteX11" fmla="*/ 11620 w 790956"/>
              <a:gd name="connsiteY11" fmla="*/ 242284 h 484219"/>
              <a:gd name="connsiteX12" fmla="*/ 0 w 790956"/>
              <a:gd name="connsiteY12" fmla="*/ 262477 h 484219"/>
              <a:gd name="connsiteX13" fmla="*/ 0 w 790956"/>
              <a:gd name="connsiteY13" fmla="*/ 304832 h 484219"/>
              <a:gd name="connsiteX14" fmla="*/ 127 w 790956"/>
              <a:gd name="connsiteY14" fmla="*/ 366681 h 48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90956" h="484219">
                <a:moveTo>
                  <a:pt x="191" y="366554"/>
                </a:moveTo>
                <a:cubicBezTo>
                  <a:pt x="191" y="401098"/>
                  <a:pt x="191" y="431769"/>
                  <a:pt x="191" y="459835"/>
                </a:cubicBezTo>
                <a:cubicBezTo>
                  <a:pt x="191" y="473298"/>
                  <a:pt x="11113" y="484220"/>
                  <a:pt x="24574" y="484220"/>
                </a:cubicBezTo>
                <a:lnTo>
                  <a:pt x="766572" y="484220"/>
                </a:lnTo>
                <a:cubicBezTo>
                  <a:pt x="780034" y="484220"/>
                  <a:pt x="790956" y="473298"/>
                  <a:pt x="790956" y="459835"/>
                </a:cubicBezTo>
                <a:lnTo>
                  <a:pt x="790956" y="364458"/>
                </a:lnTo>
                <a:lnTo>
                  <a:pt x="790829" y="295116"/>
                </a:lnTo>
                <a:lnTo>
                  <a:pt x="790829" y="261334"/>
                </a:lnTo>
                <a:cubicBezTo>
                  <a:pt x="790194" y="253714"/>
                  <a:pt x="786257" y="246729"/>
                  <a:pt x="779780" y="242602"/>
                </a:cubicBezTo>
                <a:lnTo>
                  <a:pt x="405447" y="2508"/>
                </a:lnTo>
                <a:cubicBezTo>
                  <a:pt x="400304" y="-793"/>
                  <a:pt x="393764" y="-857"/>
                  <a:pt x="388557" y="2445"/>
                </a:cubicBezTo>
                <a:cubicBezTo>
                  <a:pt x="287972" y="66072"/>
                  <a:pt x="64262" y="208757"/>
                  <a:pt x="11620" y="242284"/>
                </a:cubicBezTo>
                <a:cubicBezTo>
                  <a:pt x="4699" y="246666"/>
                  <a:pt x="127" y="254286"/>
                  <a:pt x="0" y="262477"/>
                </a:cubicBezTo>
                <a:lnTo>
                  <a:pt x="0" y="304832"/>
                </a:lnTo>
                <a:cubicBezTo>
                  <a:pt x="0" y="304832"/>
                  <a:pt x="127" y="366681"/>
                  <a:pt x="127" y="366681"/>
                </a:cubicBez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C76A7124-3B82-960A-AE04-80962B28B83A}"/>
              </a:ext>
            </a:extLst>
          </p:cNvPr>
          <p:cNvSpPr/>
          <p:nvPr userDrawn="1"/>
        </p:nvSpPr>
        <p:spPr>
          <a:xfrm>
            <a:off x="10238422" y="5161335"/>
            <a:ext cx="790892" cy="956907"/>
          </a:xfrm>
          <a:custGeom>
            <a:avLst/>
            <a:gdLst>
              <a:gd name="connsiteX0" fmla="*/ 19304 w 790892"/>
              <a:gd name="connsiteY0" fmla="*/ 956128 h 956907"/>
              <a:gd name="connsiteX1" fmla="*/ 445 w 790892"/>
              <a:gd name="connsiteY1" fmla="*/ 942602 h 956907"/>
              <a:gd name="connsiteX2" fmla="*/ 127 w 790892"/>
              <a:gd name="connsiteY2" fmla="*/ 366593 h 956907"/>
              <a:gd name="connsiteX3" fmla="*/ 0 w 790892"/>
              <a:gd name="connsiteY3" fmla="*/ 304744 h 956907"/>
              <a:gd name="connsiteX4" fmla="*/ 0 w 790892"/>
              <a:gd name="connsiteY4" fmla="*/ 262390 h 956907"/>
              <a:gd name="connsiteX5" fmla="*/ 11621 w 790892"/>
              <a:gd name="connsiteY5" fmla="*/ 242261 h 956907"/>
              <a:gd name="connsiteX6" fmla="*/ 388557 w 790892"/>
              <a:gd name="connsiteY6" fmla="*/ 2421 h 956907"/>
              <a:gd name="connsiteX7" fmla="*/ 405447 w 790892"/>
              <a:gd name="connsiteY7" fmla="*/ 2485 h 956907"/>
              <a:gd name="connsiteX8" fmla="*/ 779780 w 790892"/>
              <a:gd name="connsiteY8" fmla="*/ 242578 h 956907"/>
              <a:gd name="connsiteX9" fmla="*/ 790766 w 790892"/>
              <a:gd name="connsiteY9" fmla="*/ 261311 h 956907"/>
              <a:gd name="connsiteX10" fmla="*/ 790766 w 790892"/>
              <a:gd name="connsiteY10" fmla="*/ 295093 h 956907"/>
              <a:gd name="connsiteX11" fmla="*/ 790893 w 790892"/>
              <a:gd name="connsiteY11" fmla="*/ 364435 h 956907"/>
              <a:gd name="connsiteX12" fmla="*/ 790893 w 790892"/>
              <a:gd name="connsiteY12" fmla="*/ 942602 h 956907"/>
              <a:gd name="connsiteX13" fmla="*/ 772096 w 790892"/>
              <a:gd name="connsiteY13" fmla="*/ 956064 h 956907"/>
              <a:gd name="connsiteX14" fmla="*/ 405321 w 790892"/>
              <a:gd name="connsiteY14" fmla="*/ 830715 h 956907"/>
              <a:gd name="connsiteX15" fmla="*/ 386334 w 790892"/>
              <a:gd name="connsiteY15" fmla="*/ 830715 h 956907"/>
              <a:gd name="connsiteX16" fmla="*/ 19368 w 790892"/>
              <a:gd name="connsiteY16" fmla="*/ 956000 h 956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90892" h="956907">
                <a:moveTo>
                  <a:pt x="19304" y="956128"/>
                </a:moveTo>
                <a:cubicBezTo>
                  <a:pt x="10096" y="959303"/>
                  <a:pt x="508" y="952381"/>
                  <a:pt x="445" y="942602"/>
                </a:cubicBezTo>
                <a:cubicBezTo>
                  <a:pt x="127" y="674378"/>
                  <a:pt x="127" y="625800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9"/>
                  <a:pt x="4699" y="246642"/>
                  <a:pt x="11621" y="242261"/>
                </a:cubicBezTo>
                <a:cubicBezTo>
                  <a:pt x="64262" y="208732"/>
                  <a:pt x="288036" y="66048"/>
                  <a:pt x="388557" y="2421"/>
                </a:cubicBezTo>
                <a:cubicBezTo>
                  <a:pt x="393700" y="-818"/>
                  <a:pt x="400304" y="-818"/>
                  <a:pt x="405447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3"/>
                </a:lnTo>
                <a:cubicBezTo>
                  <a:pt x="790766" y="295093"/>
                  <a:pt x="790893" y="364435"/>
                  <a:pt x="790893" y="364435"/>
                </a:cubicBezTo>
                <a:lnTo>
                  <a:pt x="790893" y="942602"/>
                </a:lnTo>
                <a:cubicBezTo>
                  <a:pt x="790893" y="952381"/>
                  <a:pt x="781304" y="959239"/>
                  <a:pt x="772096" y="956064"/>
                </a:cubicBezTo>
                <a:lnTo>
                  <a:pt x="405321" y="830715"/>
                </a:lnTo>
                <a:cubicBezTo>
                  <a:pt x="399161" y="828619"/>
                  <a:pt x="392494" y="828619"/>
                  <a:pt x="386334" y="830715"/>
                </a:cubicBezTo>
                <a:lnTo>
                  <a:pt x="19368" y="95600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65849E72-005B-E14B-82A6-655CD75DEC83}"/>
              </a:ext>
            </a:extLst>
          </p:cNvPr>
          <p:cNvSpPr/>
          <p:nvPr userDrawn="1"/>
        </p:nvSpPr>
        <p:spPr>
          <a:xfrm>
            <a:off x="10238358" y="6118383"/>
            <a:ext cx="790956" cy="484219"/>
          </a:xfrm>
          <a:custGeom>
            <a:avLst/>
            <a:gdLst>
              <a:gd name="connsiteX0" fmla="*/ 191 w 790956"/>
              <a:gd name="connsiteY0" fmla="*/ 366554 h 484219"/>
              <a:gd name="connsiteX1" fmla="*/ 191 w 790956"/>
              <a:gd name="connsiteY1" fmla="*/ 459835 h 484219"/>
              <a:gd name="connsiteX2" fmla="*/ 24574 w 790956"/>
              <a:gd name="connsiteY2" fmla="*/ 484220 h 484219"/>
              <a:gd name="connsiteX3" fmla="*/ 766573 w 790956"/>
              <a:gd name="connsiteY3" fmla="*/ 484220 h 484219"/>
              <a:gd name="connsiteX4" fmla="*/ 790956 w 790956"/>
              <a:gd name="connsiteY4" fmla="*/ 459835 h 484219"/>
              <a:gd name="connsiteX5" fmla="*/ 790956 w 790956"/>
              <a:gd name="connsiteY5" fmla="*/ 364458 h 484219"/>
              <a:gd name="connsiteX6" fmla="*/ 790829 w 790956"/>
              <a:gd name="connsiteY6" fmla="*/ 295116 h 484219"/>
              <a:gd name="connsiteX7" fmla="*/ 790829 w 790956"/>
              <a:gd name="connsiteY7" fmla="*/ 261334 h 484219"/>
              <a:gd name="connsiteX8" fmla="*/ 779780 w 790956"/>
              <a:gd name="connsiteY8" fmla="*/ 242602 h 484219"/>
              <a:gd name="connsiteX9" fmla="*/ 405447 w 790956"/>
              <a:gd name="connsiteY9" fmla="*/ 2508 h 484219"/>
              <a:gd name="connsiteX10" fmla="*/ 388557 w 790956"/>
              <a:gd name="connsiteY10" fmla="*/ 2445 h 484219"/>
              <a:gd name="connsiteX11" fmla="*/ 11621 w 790956"/>
              <a:gd name="connsiteY11" fmla="*/ 242284 h 484219"/>
              <a:gd name="connsiteX12" fmla="*/ 0 w 790956"/>
              <a:gd name="connsiteY12" fmla="*/ 262477 h 484219"/>
              <a:gd name="connsiteX13" fmla="*/ 0 w 790956"/>
              <a:gd name="connsiteY13" fmla="*/ 304832 h 484219"/>
              <a:gd name="connsiteX14" fmla="*/ 127 w 790956"/>
              <a:gd name="connsiteY14" fmla="*/ 366681 h 48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90956" h="484219">
                <a:moveTo>
                  <a:pt x="191" y="366554"/>
                </a:moveTo>
                <a:cubicBezTo>
                  <a:pt x="191" y="401098"/>
                  <a:pt x="191" y="431769"/>
                  <a:pt x="191" y="459835"/>
                </a:cubicBezTo>
                <a:cubicBezTo>
                  <a:pt x="191" y="473298"/>
                  <a:pt x="11113" y="484220"/>
                  <a:pt x="24574" y="484220"/>
                </a:cubicBezTo>
                <a:lnTo>
                  <a:pt x="766573" y="484220"/>
                </a:lnTo>
                <a:cubicBezTo>
                  <a:pt x="780035" y="484220"/>
                  <a:pt x="790956" y="473298"/>
                  <a:pt x="790956" y="459835"/>
                </a:cubicBezTo>
                <a:lnTo>
                  <a:pt x="790956" y="364458"/>
                </a:lnTo>
                <a:lnTo>
                  <a:pt x="790829" y="295116"/>
                </a:lnTo>
                <a:lnTo>
                  <a:pt x="790829" y="261334"/>
                </a:lnTo>
                <a:cubicBezTo>
                  <a:pt x="790194" y="253714"/>
                  <a:pt x="786257" y="246729"/>
                  <a:pt x="779780" y="242602"/>
                </a:cubicBezTo>
                <a:lnTo>
                  <a:pt x="405447" y="2508"/>
                </a:lnTo>
                <a:cubicBezTo>
                  <a:pt x="400304" y="-793"/>
                  <a:pt x="393764" y="-857"/>
                  <a:pt x="388557" y="2445"/>
                </a:cubicBezTo>
                <a:cubicBezTo>
                  <a:pt x="287972" y="66072"/>
                  <a:pt x="64262" y="208757"/>
                  <a:pt x="11621" y="242284"/>
                </a:cubicBezTo>
                <a:cubicBezTo>
                  <a:pt x="4699" y="246666"/>
                  <a:pt x="127" y="254286"/>
                  <a:pt x="0" y="262477"/>
                </a:cubicBezTo>
                <a:lnTo>
                  <a:pt x="0" y="304832"/>
                </a:lnTo>
                <a:cubicBezTo>
                  <a:pt x="0" y="304832"/>
                  <a:pt x="127" y="366681"/>
                  <a:pt x="127" y="366681"/>
                </a:cubicBez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3215C2EB-7B49-A38E-0A85-E6ADE8FA65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52353" y="1054527"/>
            <a:ext cx="9866569" cy="541204"/>
          </a:xfrm>
        </p:spPr>
        <p:txBody>
          <a:bodyPr anchor="t">
            <a:noAutofit/>
          </a:bodyPr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5CBC725A-C79C-086E-6B9B-2A160F9FA24E}"/>
              </a:ext>
            </a:extLst>
          </p:cNvPr>
          <p:cNvSpPr>
            <a:spLocks noGrp="1"/>
          </p:cNvSpPr>
          <p:nvPr>
            <p:ph type="body" sz="half" idx="11"/>
          </p:nvPr>
        </p:nvSpPr>
        <p:spPr>
          <a:xfrm>
            <a:off x="1152355" y="1683838"/>
            <a:ext cx="3091654" cy="345112"/>
          </a:xfrm>
        </p:spPr>
        <p:txBody>
          <a:bodyPr numCol="1">
            <a:noAutofit/>
          </a:bodyPr>
          <a:lstStyle>
            <a:lvl1pPr marL="0" indent="0">
              <a:buNone/>
              <a:defRPr sz="2400" b="0" i="0">
                <a:latin typeface="Helvetica" pitchFamily="2" charset="0"/>
                <a:ea typeface="Bagoss Standard" panose="020B0504060102020204" pitchFamily="34" charset="77"/>
                <a:cs typeface="Bagoss Standard" panose="020B0504060102020204" pitchFamily="34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Content Placeholder 19">
            <a:extLst>
              <a:ext uri="{FF2B5EF4-FFF2-40B4-BE49-F238E27FC236}">
                <a16:creationId xmlns:a16="http://schemas.microsoft.com/office/drawing/2014/main" id="{877BABF9-643E-10CF-7981-E9C0FE6CCC8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152355" y="2118034"/>
            <a:ext cx="3091654" cy="271101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/>
            </a:lvl1pPr>
            <a:lvl2pPr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ACCCB31C-E2B2-0F51-01B7-FEE1533F626D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4550173" y="1683838"/>
            <a:ext cx="3091654" cy="345112"/>
          </a:xfrm>
        </p:spPr>
        <p:txBody>
          <a:bodyPr numCol="1">
            <a:noAutofit/>
          </a:bodyPr>
          <a:lstStyle>
            <a:lvl1pPr marL="0" indent="0">
              <a:buNone/>
              <a:defRPr sz="2400" b="0" i="0">
                <a:latin typeface="Helvetica" pitchFamily="2" charset="0"/>
                <a:ea typeface="Bagoss Standard" panose="020B0504060102020204" pitchFamily="34" charset="77"/>
                <a:cs typeface="Bagoss Standard" panose="020B0504060102020204" pitchFamily="34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Content Placeholder 19">
            <a:extLst>
              <a:ext uri="{FF2B5EF4-FFF2-40B4-BE49-F238E27FC236}">
                <a16:creationId xmlns:a16="http://schemas.microsoft.com/office/drawing/2014/main" id="{1B65A95F-68F5-C8A6-59B6-6C9E6F34917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550173" y="2118034"/>
            <a:ext cx="3091654" cy="271101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/>
            </a:lvl1pPr>
            <a:lvl2pPr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Content Placeholder 19">
            <a:extLst>
              <a:ext uri="{FF2B5EF4-FFF2-40B4-BE49-F238E27FC236}">
                <a16:creationId xmlns:a16="http://schemas.microsoft.com/office/drawing/2014/main" id="{271AE2A7-C373-2881-AF4A-76AB970380F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949356" y="2118034"/>
            <a:ext cx="3091654" cy="271101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/>
            </a:lvl1pPr>
            <a:lvl2pPr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120BA793-46F3-ED13-723E-6B0F5BEE0CC7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7949355" y="1683838"/>
            <a:ext cx="3091654" cy="345112"/>
          </a:xfrm>
        </p:spPr>
        <p:txBody>
          <a:bodyPr numCol="1">
            <a:noAutofit/>
          </a:bodyPr>
          <a:lstStyle>
            <a:lvl1pPr marL="0" indent="0">
              <a:buNone/>
              <a:defRPr sz="2400" b="0" i="0">
                <a:latin typeface="Helvetica" pitchFamily="2" charset="0"/>
                <a:ea typeface="Bagoss Standard" panose="020B0504060102020204" pitchFamily="34" charset="77"/>
                <a:cs typeface="Bagoss Standard" panose="020B0504060102020204" pitchFamily="34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5982648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Image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9">
            <a:extLst>
              <a:ext uri="{FF2B5EF4-FFF2-40B4-BE49-F238E27FC236}">
                <a16:creationId xmlns:a16="http://schemas.microsoft.com/office/drawing/2014/main" id="{6756EF89-7983-6B66-E176-F7D61FC0C33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096000" y="2017643"/>
            <a:ext cx="4922923" cy="414229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/>
            </a:lvl1pPr>
            <a:lvl2pPr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30F2710-FC3C-27DC-6499-365E8CF8579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45165" y="242471"/>
            <a:ext cx="5225882" cy="6360069"/>
          </a:xfrm>
          <a:custGeom>
            <a:avLst/>
            <a:gdLst>
              <a:gd name="connsiteX0" fmla="*/ 2623219 w 5225882"/>
              <a:gd name="connsiteY0" fmla="*/ 1 h 6360069"/>
              <a:gd name="connsiteX1" fmla="*/ 2679024 w 5225882"/>
              <a:gd name="connsiteY1" fmla="*/ 16423 h 6360069"/>
              <a:gd name="connsiteX2" fmla="*/ 5152458 w 5225882"/>
              <a:gd name="connsiteY2" fmla="*/ 1602857 h 6360069"/>
              <a:gd name="connsiteX3" fmla="*/ 5225050 w 5225882"/>
              <a:gd name="connsiteY3" fmla="*/ 1726636 h 6360069"/>
              <a:gd name="connsiteX4" fmla="*/ 5225050 w 5225882"/>
              <a:gd name="connsiteY4" fmla="*/ 1949847 h 6360069"/>
              <a:gd name="connsiteX5" fmla="*/ 5225882 w 5225882"/>
              <a:gd name="connsiteY5" fmla="*/ 2408037 h 6360069"/>
              <a:gd name="connsiteX6" fmla="*/ 5225882 w 5225882"/>
              <a:gd name="connsiteY6" fmla="*/ 6198950 h 6360069"/>
              <a:gd name="connsiteX7" fmla="*/ 5064763 w 5225882"/>
              <a:gd name="connsiteY7" fmla="*/ 6360069 h 6360069"/>
              <a:gd name="connsiteX8" fmla="*/ 4468118 w 5225882"/>
              <a:gd name="connsiteY8" fmla="*/ 6360069 h 6360069"/>
              <a:gd name="connsiteX9" fmla="*/ 4468118 w 5225882"/>
              <a:gd name="connsiteY9" fmla="*/ 6359653 h 6360069"/>
              <a:gd name="connsiteX10" fmla="*/ 164476 w 5225882"/>
              <a:gd name="connsiteY10" fmla="*/ 6359653 h 6360069"/>
              <a:gd name="connsiteX11" fmla="*/ 2934 w 5225882"/>
              <a:gd name="connsiteY11" fmla="*/ 6198111 h 6360069"/>
              <a:gd name="connsiteX12" fmla="*/ 839 w 5225882"/>
              <a:gd name="connsiteY12" fmla="*/ 2422295 h 6360069"/>
              <a:gd name="connsiteX13" fmla="*/ 0 w 5225882"/>
              <a:gd name="connsiteY13" fmla="*/ 2013623 h 6360069"/>
              <a:gd name="connsiteX14" fmla="*/ 0 w 5225882"/>
              <a:gd name="connsiteY14" fmla="*/ 1733766 h 6360069"/>
              <a:gd name="connsiteX15" fmla="*/ 76780 w 5225882"/>
              <a:gd name="connsiteY15" fmla="*/ 1600762 h 6360069"/>
              <a:gd name="connsiteX16" fmla="*/ 2567415 w 5225882"/>
              <a:gd name="connsiteY16" fmla="*/ 16000 h 6360069"/>
              <a:gd name="connsiteX17" fmla="*/ 2623219 w 5225882"/>
              <a:gd name="connsiteY17" fmla="*/ 1 h 63600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225882" h="6360069">
                <a:moveTo>
                  <a:pt x="2623219" y="1"/>
                </a:moveTo>
                <a:cubicBezTo>
                  <a:pt x="2642624" y="54"/>
                  <a:pt x="2662029" y="5511"/>
                  <a:pt x="2679024" y="16423"/>
                </a:cubicBezTo>
                <a:lnTo>
                  <a:pt x="5152458" y="1602857"/>
                </a:lnTo>
                <a:cubicBezTo>
                  <a:pt x="5195256" y="1630126"/>
                  <a:pt x="5221270" y="1676703"/>
                  <a:pt x="5225050" y="1726636"/>
                </a:cubicBezTo>
                <a:lnTo>
                  <a:pt x="5225050" y="1949847"/>
                </a:lnTo>
                <a:cubicBezTo>
                  <a:pt x="5225050" y="1949847"/>
                  <a:pt x="5225882" y="2408037"/>
                  <a:pt x="5225882" y="2408037"/>
                </a:cubicBezTo>
                <a:lnTo>
                  <a:pt x="5225882" y="6198950"/>
                </a:lnTo>
                <a:cubicBezTo>
                  <a:pt x="5225882" y="6287901"/>
                  <a:pt x="5153714" y="6360069"/>
                  <a:pt x="5064763" y="6360069"/>
                </a:cubicBezTo>
                <a:lnTo>
                  <a:pt x="4468118" y="6360069"/>
                </a:lnTo>
                <a:lnTo>
                  <a:pt x="4468118" y="6359653"/>
                </a:lnTo>
                <a:lnTo>
                  <a:pt x="164476" y="6359653"/>
                </a:lnTo>
                <a:cubicBezTo>
                  <a:pt x="75941" y="6359653"/>
                  <a:pt x="2934" y="6286646"/>
                  <a:pt x="2934" y="6198111"/>
                </a:cubicBezTo>
                <a:cubicBezTo>
                  <a:pt x="839" y="4452230"/>
                  <a:pt x="839" y="4124963"/>
                  <a:pt x="839" y="2422295"/>
                </a:cubicBezTo>
                <a:lnTo>
                  <a:pt x="0" y="2013623"/>
                </a:lnTo>
                <a:lnTo>
                  <a:pt x="0" y="1733766"/>
                </a:lnTo>
                <a:cubicBezTo>
                  <a:pt x="839" y="1679637"/>
                  <a:pt x="31049" y="1629710"/>
                  <a:pt x="76780" y="1600762"/>
                </a:cubicBezTo>
                <a:cubicBezTo>
                  <a:pt x="424617" y="1379216"/>
                  <a:pt x="1903221" y="436420"/>
                  <a:pt x="2567415" y="16000"/>
                </a:cubicBezTo>
                <a:cubicBezTo>
                  <a:pt x="2584410" y="5299"/>
                  <a:pt x="2603814" y="-51"/>
                  <a:pt x="2623219" y="1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4ECF016-B443-C244-7FC5-F80D2919B554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6096000" y="1564570"/>
            <a:ext cx="4922923" cy="345112"/>
          </a:xfrm>
        </p:spPr>
        <p:txBody>
          <a:bodyPr numCol="1">
            <a:noAutofit/>
          </a:bodyPr>
          <a:lstStyle>
            <a:lvl1pPr marL="0" indent="0">
              <a:buNone/>
              <a:defRPr sz="2400" b="0" i="0">
                <a:latin typeface="Helvetica" pitchFamily="2" charset="0"/>
                <a:ea typeface="Bagoss Standard" panose="020B0504060102020204" pitchFamily="34" charset="77"/>
                <a:cs typeface="Bagoss Standard" panose="020B0504060102020204" pitchFamily="34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41A8175-904F-973A-105D-5C2EE37872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0" y="1053550"/>
            <a:ext cx="4922923" cy="541204"/>
          </a:xfrm>
        </p:spPr>
        <p:txBody>
          <a:bodyPr anchor="t">
            <a:noAutofit/>
          </a:bodyPr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935059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Image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DAC7475A-D825-27AD-E90C-6D6F891139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52353" y="1053550"/>
            <a:ext cx="4922923" cy="541204"/>
          </a:xfrm>
        </p:spPr>
        <p:txBody>
          <a:bodyPr anchor="t">
            <a:noAutofit/>
          </a:bodyPr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Content Placeholder 19">
            <a:extLst>
              <a:ext uri="{FF2B5EF4-FFF2-40B4-BE49-F238E27FC236}">
                <a16:creationId xmlns:a16="http://schemas.microsoft.com/office/drawing/2014/main" id="{13326030-A74D-2B00-AF2B-8DF9972FFEF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152354" y="2017643"/>
            <a:ext cx="4922923" cy="414229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/>
            </a:lvl1pPr>
            <a:lvl2pPr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30F2710-FC3C-27DC-6499-365E8CF8579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11038" y="242471"/>
            <a:ext cx="5225882" cy="6360069"/>
          </a:xfrm>
          <a:custGeom>
            <a:avLst/>
            <a:gdLst>
              <a:gd name="connsiteX0" fmla="*/ 2623219 w 5225882"/>
              <a:gd name="connsiteY0" fmla="*/ 1 h 6360069"/>
              <a:gd name="connsiteX1" fmla="*/ 2679024 w 5225882"/>
              <a:gd name="connsiteY1" fmla="*/ 16423 h 6360069"/>
              <a:gd name="connsiteX2" fmla="*/ 5152458 w 5225882"/>
              <a:gd name="connsiteY2" fmla="*/ 1602857 h 6360069"/>
              <a:gd name="connsiteX3" fmla="*/ 5225050 w 5225882"/>
              <a:gd name="connsiteY3" fmla="*/ 1726636 h 6360069"/>
              <a:gd name="connsiteX4" fmla="*/ 5225050 w 5225882"/>
              <a:gd name="connsiteY4" fmla="*/ 1949847 h 6360069"/>
              <a:gd name="connsiteX5" fmla="*/ 5225882 w 5225882"/>
              <a:gd name="connsiteY5" fmla="*/ 2408037 h 6360069"/>
              <a:gd name="connsiteX6" fmla="*/ 5225882 w 5225882"/>
              <a:gd name="connsiteY6" fmla="*/ 6198950 h 6360069"/>
              <a:gd name="connsiteX7" fmla="*/ 5064763 w 5225882"/>
              <a:gd name="connsiteY7" fmla="*/ 6360069 h 6360069"/>
              <a:gd name="connsiteX8" fmla="*/ 4468118 w 5225882"/>
              <a:gd name="connsiteY8" fmla="*/ 6360069 h 6360069"/>
              <a:gd name="connsiteX9" fmla="*/ 4468118 w 5225882"/>
              <a:gd name="connsiteY9" fmla="*/ 6359653 h 6360069"/>
              <a:gd name="connsiteX10" fmla="*/ 164476 w 5225882"/>
              <a:gd name="connsiteY10" fmla="*/ 6359653 h 6360069"/>
              <a:gd name="connsiteX11" fmla="*/ 2934 w 5225882"/>
              <a:gd name="connsiteY11" fmla="*/ 6198111 h 6360069"/>
              <a:gd name="connsiteX12" fmla="*/ 839 w 5225882"/>
              <a:gd name="connsiteY12" fmla="*/ 2422295 h 6360069"/>
              <a:gd name="connsiteX13" fmla="*/ 0 w 5225882"/>
              <a:gd name="connsiteY13" fmla="*/ 2013623 h 6360069"/>
              <a:gd name="connsiteX14" fmla="*/ 0 w 5225882"/>
              <a:gd name="connsiteY14" fmla="*/ 1733766 h 6360069"/>
              <a:gd name="connsiteX15" fmla="*/ 76780 w 5225882"/>
              <a:gd name="connsiteY15" fmla="*/ 1600762 h 6360069"/>
              <a:gd name="connsiteX16" fmla="*/ 2567415 w 5225882"/>
              <a:gd name="connsiteY16" fmla="*/ 16000 h 6360069"/>
              <a:gd name="connsiteX17" fmla="*/ 2623219 w 5225882"/>
              <a:gd name="connsiteY17" fmla="*/ 1 h 63600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225882" h="6360069">
                <a:moveTo>
                  <a:pt x="2623219" y="1"/>
                </a:moveTo>
                <a:cubicBezTo>
                  <a:pt x="2642624" y="54"/>
                  <a:pt x="2662029" y="5511"/>
                  <a:pt x="2679024" y="16423"/>
                </a:cubicBezTo>
                <a:lnTo>
                  <a:pt x="5152458" y="1602857"/>
                </a:lnTo>
                <a:cubicBezTo>
                  <a:pt x="5195256" y="1630126"/>
                  <a:pt x="5221270" y="1676703"/>
                  <a:pt x="5225050" y="1726636"/>
                </a:cubicBezTo>
                <a:lnTo>
                  <a:pt x="5225050" y="1949847"/>
                </a:lnTo>
                <a:cubicBezTo>
                  <a:pt x="5225050" y="1949847"/>
                  <a:pt x="5225882" y="2408037"/>
                  <a:pt x="5225882" y="2408037"/>
                </a:cubicBezTo>
                <a:lnTo>
                  <a:pt x="5225882" y="6198950"/>
                </a:lnTo>
                <a:cubicBezTo>
                  <a:pt x="5225882" y="6287901"/>
                  <a:pt x="5153714" y="6360069"/>
                  <a:pt x="5064763" y="6360069"/>
                </a:cubicBezTo>
                <a:lnTo>
                  <a:pt x="4468118" y="6360069"/>
                </a:lnTo>
                <a:lnTo>
                  <a:pt x="4468118" y="6359653"/>
                </a:lnTo>
                <a:lnTo>
                  <a:pt x="164476" y="6359653"/>
                </a:lnTo>
                <a:cubicBezTo>
                  <a:pt x="75941" y="6359653"/>
                  <a:pt x="2934" y="6286646"/>
                  <a:pt x="2934" y="6198111"/>
                </a:cubicBezTo>
                <a:cubicBezTo>
                  <a:pt x="839" y="4452230"/>
                  <a:pt x="839" y="4124963"/>
                  <a:pt x="839" y="2422295"/>
                </a:cubicBezTo>
                <a:lnTo>
                  <a:pt x="0" y="2013623"/>
                </a:lnTo>
                <a:lnTo>
                  <a:pt x="0" y="1733766"/>
                </a:lnTo>
                <a:cubicBezTo>
                  <a:pt x="839" y="1679637"/>
                  <a:pt x="31049" y="1629710"/>
                  <a:pt x="76780" y="1600762"/>
                </a:cubicBezTo>
                <a:cubicBezTo>
                  <a:pt x="424617" y="1379216"/>
                  <a:pt x="1903221" y="436420"/>
                  <a:pt x="2567415" y="16000"/>
                </a:cubicBezTo>
                <a:cubicBezTo>
                  <a:pt x="2584410" y="5299"/>
                  <a:pt x="2603814" y="-51"/>
                  <a:pt x="2623219" y="1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9590E34F-25CD-9CAB-1F93-8354EFF3C359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1152354" y="1564570"/>
            <a:ext cx="4922923" cy="345112"/>
          </a:xfrm>
        </p:spPr>
        <p:txBody>
          <a:bodyPr numCol="1">
            <a:noAutofit/>
          </a:bodyPr>
          <a:lstStyle>
            <a:lvl1pPr marL="0" indent="0">
              <a:buNone/>
              <a:defRPr sz="2400" b="0" i="0">
                <a:latin typeface="Helvetica" pitchFamily="2" charset="0"/>
                <a:ea typeface="Bagoss Standard" panose="020B0504060102020204" pitchFamily="34" charset="77"/>
                <a:cs typeface="Bagoss Standard" panose="020B0504060102020204" pitchFamily="34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0181783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Image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3A57A958-155C-1F7A-B19A-B7CFDB6278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99086" y="2402355"/>
            <a:ext cx="4540470" cy="541204"/>
          </a:xfrm>
        </p:spPr>
        <p:txBody>
          <a:bodyPr anchor="t">
            <a:noAutofit/>
          </a:bodyPr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19">
            <a:extLst>
              <a:ext uri="{FF2B5EF4-FFF2-40B4-BE49-F238E27FC236}">
                <a16:creationId xmlns:a16="http://schemas.microsoft.com/office/drawing/2014/main" id="{78D02C94-62A0-CD93-19B7-0DEFAA12A11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99087" y="3366448"/>
            <a:ext cx="4540469" cy="290633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/>
            </a:lvl1pPr>
            <a:lvl2pPr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1CBC6268-D4AF-AC51-E402-B95341FBF85F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99087" y="2913375"/>
            <a:ext cx="4540469" cy="345112"/>
          </a:xfrm>
        </p:spPr>
        <p:txBody>
          <a:bodyPr numCol="1">
            <a:noAutofit/>
          </a:bodyPr>
          <a:lstStyle>
            <a:lvl1pPr marL="0" indent="0">
              <a:buNone/>
              <a:defRPr sz="2400" b="0" i="0">
                <a:latin typeface="Helvetica" pitchFamily="2" charset="0"/>
                <a:ea typeface="Bagoss Standard" panose="020B0504060102020204" pitchFamily="34" charset="77"/>
                <a:cs typeface="Bagoss Standard" panose="020B0504060102020204" pitchFamily="34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5" name="Picture Placeholder 134">
            <a:extLst>
              <a:ext uri="{FF2B5EF4-FFF2-40B4-BE49-F238E27FC236}">
                <a16:creationId xmlns:a16="http://schemas.microsoft.com/office/drawing/2014/main" id="{FA0298AF-8A88-BE85-1060-ED09E5A808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" y="0"/>
            <a:ext cx="12191999" cy="6858000"/>
          </a:xfrm>
          <a:custGeom>
            <a:avLst/>
            <a:gdLst>
              <a:gd name="connsiteX0" fmla="*/ 851787 w 12191999"/>
              <a:gd name="connsiteY0" fmla="*/ 622268 h 6858000"/>
              <a:gd name="connsiteX1" fmla="*/ 879625 w 12191999"/>
              <a:gd name="connsiteY1" fmla="*/ 637883 h 6858000"/>
              <a:gd name="connsiteX2" fmla="*/ 893277 w 12191999"/>
              <a:gd name="connsiteY2" fmla="*/ 667955 h 6858000"/>
              <a:gd name="connsiteX3" fmla="*/ 891586 w 12191999"/>
              <a:gd name="connsiteY3" fmla="*/ 699793 h 6858000"/>
              <a:gd name="connsiteX4" fmla="*/ 891582 w 12191999"/>
              <a:gd name="connsiteY4" fmla="*/ 699793 h 6858000"/>
              <a:gd name="connsiteX5" fmla="*/ 867360 w 12191999"/>
              <a:gd name="connsiteY5" fmla="*/ 738114 h 6858000"/>
              <a:gd name="connsiteX6" fmla="*/ 838249 w 12191999"/>
              <a:gd name="connsiteY6" fmla="*/ 747879 h 6858000"/>
              <a:gd name="connsiteX7" fmla="*/ 790819 w 12191999"/>
              <a:gd name="connsiteY7" fmla="*/ 747843 h 6858000"/>
              <a:gd name="connsiteX8" fmla="*/ 788827 w 12191999"/>
              <a:gd name="connsiteY8" fmla="*/ 745852 h 6858000"/>
              <a:gd name="connsiteX9" fmla="*/ 788792 w 12191999"/>
              <a:gd name="connsiteY9" fmla="*/ 641512 h 6858000"/>
              <a:gd name="connsiteX10" fmla="*/ 790641 w 12191999"/>
              <a:gd name="connsiteY10" fmla="*/ 638773 h 6858000"/>
              <a:gd name="connsiteX11" fmla="*/ 847764 w 12191999"/>
              <a:gd name="connsiteY11" fmla="*/ 622386 h 6858000"/>
              <a:gd name="connsiteX12" fmla="*/ 851787 w 12191999"/>
              <a:gd name="connsiteY12" fmla="*/ 622268 h 6858000"/>
              <a:gd name="connsiteX13" fmla="*/ 790947 w 12191999"/>
              <a:gd name="connsiteY13" fmla="*/ 510426 h 6858000"/>
              <a:gd name="connsiteX14" fmla="*/ 798959 w 12191999"/>
              <a:gd name="connsiteY14" fmla="*/ 510426 h 6858000"/>
              <a:gd name="connsiteX15" fmla="*/ 831973 w 12191999"/>
              <a:gd name="connsiteY15" fmla="*/ 510776 h 6858000"/>
              <a:gd name="connsiteX16" fmla="*/ 859857 w 12191999"/>
              <a:gd name="connsiteY16" fmla="*/ 516527 h 6858000"/>
              <a:gd name="connsiteX17" fmla="*/ 880607 w 12191999"/>
              <a:gd name="connsiteY17" fmla="*/ 542333 h 6858000"/>
              <a:gd name="connsiteX18" fmla="*/ 874177 w 12191999"/>
              <a:gd name="connsiteY18" fmla="*/ 574580 h 6858000"/>
              <a:gd name="connsiteX19" fmla="*/ 806873 w 12191999"/>
              <a:gd name="connsiteY19" fmla="*/ 616032 h 6858000"/>
              <a:gd name="connsiteX20" fmla="*/ 791537 w 12191999"/>
              <a:gd name="connsiteY20" fmla="*/ 621918 h 6858000"/>
              <a:gd name="connsiteX21" fmla="*/ 788817 w 12191999"/>
              <a:gd name="connsiteY21" fmla="*/ 620056 h 6858000"/>
              <a:gd name="connsiteX22" fmla="*/ 788940 w 12191999"/>
              <a:gd name="connsiteY22" fmla="*/ 538418 h 6858000"/>
              <a:gd name="connsiteX23" fmla="*/ 788942 w 12191999"/>
              <a:gd name="connsiteY23" fmla="*/ 538421 h 6858000"/>
              <a:gd name="connsiteX24" fmla="*/ 788942 w 12191999"/>
              <a:gd name="connsiteY24" fmla="*/ 512430 h 6858000"/>
              <a:gd name="connsiteX25" fmla="*/ 790947 w 12191999"/>
              <a:gd name="connsiteY25" fmla="*/ 510426 h 6858000"/>
              <a:gd name="connsiteX26" fmla="*/ 727176 w 12191999"/>
              <a:gd name="connsiteY26" fmla="*/ 494837 h 6858000"/>
              <a:gd name="connsiteX27" fmla="*/ 725465 w 12191999"/>
              <a:gd name="connsiteY27" fmla="*/ 497886 h 6858000"/>
              <a:gd name="connsiteX28" fmla="*/ 736711 w 12191999"/>
              <a:gd name="connsiteY28" fmla="*/ 516333 h 6858000"/>
              <a:gd name="connsiteX29" fmla="*/ 737970 w 12191999"/>
              <a:gd name="connsiteY29" fmla="*/ 520742 h 6858000"/>
              <a:gd name="connsiteX30" fmla="*/ 737970 w 12191999"/>
              <a:gd name="connsiteY30" fmla="*/ 520667 h 6858000"/>
              <a:gd name="connsiteX31" fmla="*/ 737970 w 12191999"/>
              <a:gd name="connsiteY31" fmla="*/ 763525 h 6858000"/>
              <a:gd name="connsiteX32" fmla="*/ 740984 w 12191999"/>
              <a:gd name="connsiteY32" fmla="*/ 766514 h 6858000"/>
              <a:gd name="connsiteX33" fmla="*/ 850684 w 12191999"/>
              <a:gd name="connsiteY33" fmla="*/ 766514 h 6858000"/>
              <a:gd name="connsiteX34" fmla="*/ 884846 w 12191999"/>
              <a:gd name="connsiteY34" fmla="*/ 761544 h 6858000"/>
              <a:gd name="connsiteX35" fmla="*/ 925849 w 12191999"/>
              <a:gd name="connsiteY35" fmla="*/ 737695 h 6858000"/>
              <a:gd name="connsiteX36" fmla="*/ 947658 w 12191999"/>
              <a:gd name="connsiteY36" fmla="*/ 689922 h 6858000"/>
              <a:gd name="connsiteX37" fmla="*/ 938934 w 12191999"/>
              <a:gd name="connsiteY37" fmla="*/ 643977 h 6858000"/>
              <a:gd name="connsiteX38" fmla="*/ 938937 w 12191999"/>
              <a:gd name="connsiteY38" fmla="*/ 643974 h 6858000"/>
              <a:gd name="connsiteX39" fmla="*/ 893188 w 12191999"/>
              <a:gd name="connsiteY39" fmla="*/ 609239 h 6858000"/>
              <a:gd name="connsiteX40" fmla="*/ 879862 w 12191999"/>
              <a:gd name="connsiteY40" fmla="*/ 607328 h 6858000"/>
              <a:gd name="connsiteX41" fmla="*/ 879615 w 12191999"/>
              <a:gd name="connsiteY41" fmla="*/ 605966 h 6858000"/>
              <a:gd name="connsiteX42" fmla="*/ 911160 w 12191999"/>
              <a:gd name="connsiteY42" fmla="*/ 585634 h 6858000"/>
              <a:gd name="connsiteX43" fmla="*/ 930810 w 12191999"/>
              <a:gd name="connsiteY43" fmla="*/ 543378 h 6858000"/>
              <a:gd name="connsiteX44" fmla="*/ 914761 w 12191999"/>
              <a:gd name="connsiteY44" fmla="*/ 509606 h 6858000"/>
              <a:gd name="connsiteX45" fmla="*/ 889088 w 12191999"/>
              <a:gd name="connsiteY45" fmla="*/ 498265 h 6858000"/>
              <a:gd name="connsiteX46" fmla="*/ 855459 w 12191999"/>
              <a:gd name="connsiteY46" fmla="*/ 494857 h 6858000"/>
              <a:gd name="connsiteX47" fmla="*/ 737970 w 12191999"/>
              <a:gd name="connsiteY47" fmla="*/ 494837 h 6858000"/>
              <a:gd name="connsiteX48" fmla="*/ 643630 w 12191999"/>
              <a:gd name="connsiteY48" fmla="*/ 494827 h 6858000"/>
              <a:gd name="connsiteX49" fmla="*/ 641910 w 12191999"/>
              <a:gd name="connsiteY49" fmla="*/ 497862 h 6858000"/>
              <a:gd name="connsiteX50" fmla="*/ 653396 w 12191999"/>
              <a:gd name="connsiteY50" fmla="*/ 517034 h 6858000"/>
              <a:gd name="connsiteX51" fmla="*/ 654256 w 12191999"/>
              <a:gd name="connsiteY51" fmla="*/ 520169 h 6858000"/>
              <a:gd name="connsiteX52" fmla="*/ 654292 w 12191999"/>
              <a:gd name="connsiteY52" fmla="*/ 571083 h 6858000"/>
              <a:gd name="connsiteX53" fmla="*/ 654295 w 12191999"/>
              <a:gd name="connsiteY53" fmla="*/ 620214 h 6858000"/>
              <a:gd name="connsiteX54" fmla="*/ 651580 w 12191999"/>
              <a:gd name="connsiteY54" fmla="*/ 621908 h 6858000"/>
              <a:gd name="connsiteX55" fmla="*/ 606908 w 12191999"/>
              <a:gd name="connsiteY55" fmla="*/ 606246 h 6858000"/>
              <a:gd name="connsiteX56" fmla="*/ 604719 w 12191999"/>
              <a:gd name="connsiteY56" fmla="*/ 606243 h 6858000"/>
              <a:gd name="connsiteX57" fmla="*/ 559494 w 12191999"/>
              <a:gd name="connsiteY57" fmla="*/ 621955 h 6858000"/>
              <a:gd name="connsiteX58" fmla="*/ 556715 w 12191999"/>
              <a:gd name="connsiteY58" fmla="*/ 621955 h 6858000"/>
              <a:gd name="connsiteX59" fmla="*/ 556712 w 12191999"/>
              <a:gd name="connsiteY59" fmla="*/ 620185 h 6858000"/>
              <a:gd name="connsiteX60" fmla="*/ 556712 w 12191999"/>
              <a:gd name="connsiteY60" fmla="*/ 497846 h 6858000"/>
              <a:gd name="connsiteX61" fmla="*/ 553703 w 12191999"/>
              <a:gd name="connsiteY61" fmla="*/ 494837 h 6858000"/>
              <a:gd name="connsiteX62" fmla="*/ 495212 w 12191999"/>
              <a:gd name="connsiteY62" fmla="*/ 494837 h 6858000"/>
              <a:gd name="connsiteX63" fmla="*/ 493501 w 12191999"/>
              <a:gd name="connsiteY63" fmla="*/ 497886 h 6858000"/>
              <a:gd name="connsiteX64" fmla="*/ 504750 w 12191999"/>
              <a:gd name="connsiteY64" fmla="*/ 516412 h 6858000"/>
              <a:gd name="connsiteX65" fmla="*/ 506009 w 12191999"/>
              <a:gd name="connsiteY65" fmla="*/ 520821 h 6858000"/>
              <a:gd name="connsiteX66" fmla="*/ 506012 w 12191999"/>
              <a:gd name="connsiteY66" fmla="*/ 740605 h 6858000"/>
              <a:gd name="connsiteX67" fmla="*/ 504816 w 12191999"/>
              <a:gd name="connsiteY67" fmla="*/ 744797 h 6858000"/>
              <a:gd name="connsiteX68" fmla="*/ 493478 w 12191999"/>
              <a:gd name="connsiteY68" fmla="*/ 763465 h 6858000"/>
              <a:gd name="connsiteX69" fmla="*/ 495192 w 12191999"/>
              <a:gd name="connsiteY69" fmla="*/ 766514 h 6858000"/>
              <a:gd name="connsiteX70" fmla="*/ 567499 w 12191999"/>
              <a:gd name="connsiteY70" fmla="*/ 766514 h 6858000"/>
              <a:gd name="connsiteX71" fmla="*/ 569220 w 12191999"/>
              <a:gd name="connsiteY71" fmla="*/ 763475 h 6858000"/>
              <a:gd name="connsiteX72" fmla="*/ 557800 w 12191999"/>
              <a:gd name="connsiteY72" fmla="*/ 744441 h 6858000"/>
              <a:gd name="connsiteX73" fmla="*/ 556824 w 12191999"/>
              <a:gd name="connsiteY73" fmla="*/ 740865 h 6858000"/>
              <a:gd name="connsiteX74" fmla="*/ 556785 w 12191999"/>
              <a:gd name="connsiteY74" fmla="*/ 667328 h 6858000"/>
              <a:gd name="connsiteX75" fmla="*/ 556771 w 12191999"/>
              <a:gd name="connsiteY75" fmla="*/ 659699 h 6858000"/>
              <a:gd name="connsiteX76" fmla="*/ 556765 w 12191999"/>
              <a:gd name="connsiteY76" fmla="*/ 654475 h 6858000"/>
              <a:gd name="connsiteX77" fmla="*/ 558202 w 12191999"/>
              <a:gd name="connsiteY77" fmla="*/ 651986 h 6858000"/>
              <a:gd name="connsiteX78" fmla="*/ 604713 w 12191999"/>
              <a:gd name="connsiteY78" fmla="*/ 622393 h 6858000"/>
              <a:gd name="connsiteX79" fmla="*/ 606799 w 12191999"/>
              <a:gd name="connsiteY79" fmla="*/ 622399 h 6858000"/>
              <a:gd name="connsiteX80" fmla="*/ 652987 w 12191999"/>
              <a:gd name="connsiteY80" fmla="*/ 652023 h 6858000"/>
              <a:gd name="connsiteX81" fmla="*/ 654345 w 12191999"/>
              <a:gd name="connsiteY81" fmla="*/ 654336 h 6858000"/>
              <a:gd name="connsiteX82" fmla="*/ 654351 w 12191999"/>
              <a:gd name="connsiteY82" fmla="*/ 658509 h 6858000"/>
              <a:gd name="connsiteX83" fmla="*/ 654365 w 12191999"/>
              <a:gd name="connsiteY83" fmla="*/ 667065 h 6858000"/>
              <a:gd name="connsiteX84" fmla="*/ 654365 w 12191999"/>
              <a:gd name="connsiteY84" fmla="*/ 763495 h 6858000"/>
              <a:gd name="connsiteX85" fmla="*/ 657374 w 12191999"/>
              <a:gd name="connsiteY85" fmla="*/ 766504 h 6858000"/>
              <a:gd name="connsiteX86" fmla="*/ 716218 w 12191999"/>
              <a:gd name="connsiteY86" fmla="*/ 766504 h 6858000"/>
              <a:gd name="connsiteX87" fmla="*/ 717938 w 12191999"/>
              <a:gd name="connsiteY87" fmla="*/ 763468 h 6858000"/>
              <a:gd name="connsiteX88" fmla="*/ 706696 w 12191999"/>
              <a:gd name="connsiteY88" fmla="*/ 744702 h 6858000"/>
              <a:gd name="connsiteX89" fmla="*/ 705664 w 12191999"/>
              <a:gd name="connsiteY89" fmla="*/ 740905 h 6858000"/>
              <a:gd name="connsiteX90" fmla="*/ 705618 w 12191999"/>
              <a:gd name="connsiteY90" fmla="*/ 497836 h 6858000"/>
              <a:gd name="connsiteX91" fmla="*/ 702609 w 12191999"/>
              <a:gd name="connsiteY91" fmla="*/ 494827 h 6858000"/>
              <a:gd name="connsiteX92" fmla="*/ 957183 w 12191999"/>
              <a:gd name="connsiteY92" fmla="*/ 494827 h 6858000"/>
              <a:gd name="connsiteX93" fmla="*/ 955472 w 12191999"/>
              <a:gd name="connsiteY93" fmla="*/ 497876 h 6858000"/>
              <a:gd name="connsiteX94" fmla="*/ 966718 w 12191999"/>
              <a:gd name="connsiteY94" fmla="*/ 516405 h 6858000"/>
              <a:gd name="connsiteX95" fmla="*/ 967977 w 12191999"/>
              <a:gd name="connsiteY95" fmla="*/ 520815 h 6858000"/>
              <a:gd name="connsiteX96" fmla="*/ 967977 w 12191999"/>
              <a:gd name="connsiteY96" fmla="*/ 578087 h 6858000"/>
              <a:gd name="connsiteX97" fmla="*/ 967960 w 12191999"/>
              <a:gd name="connsiteY97" fmla="*/ 578087 h 6858000"/>
              <a:gd name="connsiteX98" fmla="*/ 967960 w 12191999"/>
              <a:gd name="connsiteY98" fmla="*/ 740608 h 6858000"/>
              <a:gd name="connsiteX99" fmla="*/ 966701 w 12191999"/>
              <a:gd name="connsiteY99" fmla="*/ 745018 h 6858000"/>
              <a:gd name="connsiteX100" fmla="*/ 955456 w 12191999"/>
              <a:gd name="connsiteY100" fmla="*/ 763465 h 6858000"/>
              <a:gd name="connsiteX101" fmla="*/ 957166 w 12191999"/>
              <a:gd name="connsiteY101" fmla="*/ 766514 h 6858000"/>
              <a:gd name="connsiteX102" fmla="*/ 1029563 w 12191999"/>
              <a:gd name="connsiteY102" fmla="*/ 766514 h 6858000"/>
              <a:gd name="connsiteX103" fmla="*/ 1031273 w 12191999"/>
              <a:gd name="connsiteY103" fmla="*/ 763465 h 6858000"/>
              <a:gd name="connsiteX104" fmla="*/ 1020028 w 12191999"/>
              <a:gd name="connsiteY104" fmla="*/ 745018 h 6858000"/>
              <a:gd name="connsiteX105" fmla="*/ 1018779 w 12191999"/>
              <a:gd name="connsiteY105" fmla="*/ 740744 h 6858000"/>
              <a:gd name="connsiteX106" fmla="*/ 1018759 w 12191999"/>
              <a:gd name="connsiteY106" fmla="*/ 625020 h 6858000"/>
              <a:gd name="connsiteX107" fmla="*/ 1021778 w 12191999"/>
              <a:gd name="connsiteY107" fmla="*/ 622050 h 6858000"/>
              <a:gd name="connsiteX108" fmla="*/ 1062063 w 12191999"/>
              <a:gd name="connsiteY108" fmla="*/ 630626 h 6858000"/>
              <a:gd name="connsiteX109" fmla="*/ 1089874 w 12191999"/>
              <a:gd name="connsiteY109" fmla="*/ 652112 h 6858000"/>
              <a:gd name="connsiteX110" fmla="*/ 1090460 w 12191999"/>
              <a:gd name="connsiteY110" fmla="*/ 652784 h 6858000"/>
              <a:gd name="connsiteX111" fmla="*/ 1093960 w 12191999"/>
              <a:gd name="connsiteY111" fmla="*/ 651459 h 6858000"/>
              <a:gd name="connsiteX112" fmla="*/ 1093960 w 12191999"/>
              <a:gd name="connsiteY112" fmla="*/ 609470 h 6858000"/>
              <a:gd name="connsiteX113" fmla="*/ 1090955 w 12191999"/>
              <a:gd name="connsiteY113" fmla="*/ 606464 h 6858000"/>
              <a:gd name="connsiteX114" fmla="*/ 1082507 w 12191999"/>
              <a:gd name="connsiteY114" fmla="*/ 606464 h 6858000"/>
              <a:gd name="connsiteX115" fmla="*/ 1082507 w 12191999"/>
              <a:gd name="connsiteY115" fmla="*/ 606461 h 6858000"/>
              <a:gd name="connsiteX116" fmla="*/ 1020839 w 12191999"/>
              <a:gd name="connsiteY116" fmla="*/ 606461 h 6858000"/>
              <a:gd name="connsiteX117" fmla="*/ 1018835 w 12191999"/>
              <a:gd name="connsiteY117" fmla="*/ 604457 h 6858000"/>
              <a:gd name="connsiteX118" fmla="*/ 1018835 w 12191999"/>
              <a:gd name="connsiteY118" fmla="*/ 512582 h 6858000"/>
              <a:gd name="connsiteX119" fmla="*/ 1020816 w 12191999"/>
              <a:gd name="connsiteY119" fmla="*/ 510578 h 6858000"/>
              <a:gd name="connsiteX120" fmla="*/ 1046441 w 12191999"/>
              <a:gd name="connsiteY120" fmla="*/ 510430 h 6858000"/>
              <a:gd name="connsiteX121" fmla="*/ 1083302 w 12191999"/>
              <a:gd name="connsiteY121" fmla="*/ 513396 h 6858000"/>
              <a:gd name="connsiteX122" fmla="*/ 1119658 w 12191999"/>
              <a:gd name="connsiteY122" fmla="*/ 527983 h 6858000"/>
              <a:gd name="connsiteX123" fmla="*/ 1147482 w 12191999"/>
              <a:gd name="connsiteY123" fmla="*/ 548526 h 6858000"/>
              <a:gd name="connsiteX124" fmla="*/ 1148886 w 12191999"/>
              <a:gd name="connsiteY124" fmla="*/ 550009 h 6858000"/>
              <a:gd name="connsiteX125" fmla="*/ 1152353 w 12191999"/>
              <a:gd name="connsiteY125" fmla="*/ 548642 h 6858000"/>
              <a:gd name="connsiteX126" fmla="*/ 1152353 w 12191999"/>
              <a:gd name="connsiteY126" fmla="*/ 497843 h 6858000"/>
              <a:gd name="connsiteX127" fmla="*/ 1149347 w 12191999"/>
              <a:gd name="connsiteY127" fmla="*/ 494837 h 6858000"/>
              <a:gd name="connsiteX128" fmla="*/ 2878302 w 12191999"/>
              <a:gd name="connsiteY128" fmla="*/ 242468 h 6858000"/>
              <a:gd name="connsiteX129" fmla="*/ 2822499 w 12191999"/>
              <a:gd name="connsiteY129" fmla="*/ 258467 h 6858000"/>
              <a:gd name="connsiteX130" fmla="*/ 331864 w 12191999"/>
              <a:gd name="connsiteY130" fmla="*/ 1843230 h 6858000"/>
              <a:gd name="connsiteX131" fmla="*/ 255077 w 12191999"/>
              <a:gd name="connsiteY131" fmla="*/ 1976234 h 6858000"/>
              <a:gd name="connsiteX132" fmla="*/ 255077 w 12191999"/>
              <a:gd name="connsiteY132" fmla="*/ 2256091 h 6858000"/>
              <a:gd name="connsiteX133" fmla="*/ 255916 w 12191999"/>
              <a:gd name="connsiteY133" fmla="*/ 2664764 h 6858000"/>
              <a:gd name="connsiteX134" fmla="*/ 258018 w 12191999"/>
              <a:gd name="connsiteY134" fmla="*/ 6440581 h 6858000"/>
              <a:gd name="connsiteX135" fmla="*/ 419553 w 12191999"/>
              <a:gd name="connsiteY135" fmla="*/ 6602123 h 6858000"/>
              <a:gd name="connsiteX136" fmla="*/ 4723620 w 12191999"/>
              <a:gd name="connsiteY136" fmla="*/ 6602123 h 6858000"/>
              <a:gd name="connsiteX137" fmla="*/ 4723204 w 12191999"/>
              <a:gd name="connsiteY137" fmla="*/ 6602539 h 6858000"/>
              <a:gd name="connsiteX138" fmla="*/ 5319849 w 12191999"/>
              <a:gd name="connsiteY138" fmla="*/ 6602539 h 6858000"/>
              <a:gd name="connsiteX139" fmla="*/ 5480968 w 12191999"/>
              <a:gd name="connsiteY139" fmla="*/ 6441420 h 6858000"/>
              <a:gd name="connsiteX140" fmla="*/ 5480968 w 12191999"/>
              <a:gd name="connsiteY140" fmla="*/ 2650504 h 6858000"/>
              <a:gd name="connsiteX141" fmla="*/ 5480129 w 12191999"/>
              <a:gd name="connsiteY141" fmla="*/ 2192315 h 6858000"/>
              <a:gd name="connsiteX142" fmla="*/ 5480129 w 12191999"/>
              <a:gd name="connsiteY142" fmla="*/ 1969104 h 6858000"/>
              <a:gd name="connsiteX143" fmla="*/ 5407538 w 12191999"/>
              <a:gd name="connsiteY143" fmla="*/ 1845324 h 6858000"/>
              <a:gd name="connsiteX144" fmla="*/ 2934108 w 12191999"/>
              <a:gd name="connsiteY144" fmla="*/ 258890 h 6858000"/>
              <a:gd name="connsiteX145" fmla="*/ 2878302 w 12191999"/>
              <a:gd name="connsiteY145" fmla="*/ 242468 h 6858000"/>
              <a:gd name="connsiteX146" fmla="*/ 0 w 12191999"/>
              <a:gd name="connsiteY146" fmla="*/ 0 h 6858000"/>
              <a:gd name="connsiteX147" fmla="*/ 12191999 w 12191999"/>
              <a:gd name="connsiteY147" fmla="*/ 0 h 6858000"/>
              <a:gd name="connsiteX148" fmla="*/ 12191999 w 12191999"/>
              <a:gd name="connsiteY148" fmla="*/ 6858000 h 6858000"/>
              <a:gd name="connsiteX149" fmla="*/ 0 w 12191999"/>
              <a:gd name="connsiteY14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</a:cxnLst>
            <a:rect l="l" t="t" r="r" b="b"/>
            <a:pathLst>
              <a:path w="12191999" h="6858000">
                <a:moveTo>
                  <a:pt x="851787" y="622268"/>
                </a:moveTo>
                <a:cubicBezTo>
                  <a:pt x="862651" y="624621"/>
                  <a:pt x="872127" y="629538"/>
                  <a:pt x="879625" y="637883"/>
                </a:cubicBezTo>
                <a:cubicBezTo>
                  <a:pt x="887334" y="646463"/>
                  <a:pt x="891497" y="656693"/>
                  <a:pt x="893277" y="667955"/>
                </a:cubicBezTo>
                <a:cubicBezTo>
                  <a:pt x="894971" y="678673"/>
                  <a:pt x="894364" y="689328"/>
                  <a:pt x="891586" y="699793"/>
                </a:cubicBezTo>
                <a:lnTo>
                  <a:pt x="891582" y="699793"/>
                </a:lnTo>
                <a:cubicBezTo>
                  <a:pt x="887529" y="715076"/>
                  <a:pt x="880205" y="728387"/>
                  <a:pt x="867360" y="738114"/>
                </a:cubicBezTo>
                <a:cubicBezTo>
                  <a:pt x="859000" y="744445"/>
                  <a:pt x="848737" y="747807"/>
                  <a:pt x="838249" y="747879"/>
                </a:cubicBezTo>
                <a:cubicBezTo>
                  <a:pt x="824466" y="747978"/>
                  <a:pt x="798238" y="747892"/>
                  <a:pt x="790819" y="747843"/>
                </a:cubicBezTo>
                <a:cubicBezTo>
                  <a:pt x="789718" y="747836"/>
                  <a:pt x="788827" y="746953"/>
                  <a:pt x="788827" y="745852"/>
                </a:cubicBezTo>
                <a:cubicBezTo>
                  <a:pt x="788827" y="734732"/>
                  <a:pt x="788835" y="671765"/>
                  <a:pt x="788792" y="641512"/>
                </a:cubicBezTo>
                <a:cubicBezTo>
                  <a:pt x="788792" y="640306"/>
                  <a:pt x="789519" y="639228"/>
                  <a:pt x="790641" y="638773"/>
                </a:cubicBezTo>
                <a:lnTo>
                  <a:pt x="847764" y="622386"/>
                </a:lnTo>
                <a:cubicBezTo>
                  <a:pt x="848951" y="621928"/>
                  <a:pt x="850502" y="621988"/>
                  <a:pt x="851787" y="622268"/>
                </a:cubicBezTo>
                <a:close/>
                <a:moveTo>
                  <a:pt x="790947" y="510426"/>
                </a:moveTo>
                <a:lnTo>
                  <a:pt x="798959" y="510426"/>
                </a:lnTo>
                <a:cubicBezTo>
                  <a:pt x="809967" y="510473"/>
                  <a:pt x="820978" y="510351"/>
                  <a:pt x="831973" y="510776"/>
                </a:cubicBezTo>
                <a:cubicBezTo>
                  <a:pt x="841534" y="511145"/>
                  <a:pt x="850968" y="512644"/>
                  <a:pt x="859857" y="516527"/>
                </a:cubicBezTo>
                <a:cubicBezTo>
                  <a:pt x="870572" y="521210"/>
                  <a:pt x="878033" y="530637"/>
                  <a:pt x="880607" y="542333"/>
                </a:cubicBezTo>
                <a:cubicBezTo>
                  <a:pt x="883171" y="553994"/>
                  <a:pt x="880779" y="564725"/>
                  <a:pt x="874177" y="574580"/>
                </a:cubicBezTo>
                <a:cubicBezTo>
                  <a:pt x="858370" y="598188"/>
                  <a:pt x="832135" y="605693"/>
                  <a:pt x="806873" y="616032"/>
                </a:cubicBezTo>
                <a:cubicBezTo>
                  <a:pt x="801872" y="618079"/>
                  <a:pt x="796796" y="619938"/>
                  <a:pt x="791537" y="621918"/>
                </a:cubicBezTo>
                <a:cubicBezTo>
                  <a:pt x="790229" y="622413"/>
                  <a:pt x="788821" y="621457"/>
                  <a:pt x="788817" y="620056"/>
                </a:cubicBezTo>
                <a:cubicBezTo>
                  <a:pt x="788807" y="607736"/>
                  <a:pt x="788785" y="563981"/>
                  <a:pt x="788940" y="538418"/>
                </a:cubicBezTo>
                <a:lnTo>
                  <a:pt x="788942" y="538421"/>
                </a:lnTo>
                <a:lnTo>
                  <a:pt x="788942" y="512430"/>
                </a:lnTo>
                <a:cubicBezTo>
                  <a:pt x="788942" y="511323"/>
                  <a:pt x="789840" y="510426"/>
                  <a:pt x="790947" y="510426"/>
                </a:cubicBezTo>
                <a:close/>
                <a:moveTo>
                  <a:pt x="727176" y="494837"/>
                </a:moveTo>
                <a:cubicBezTo>
                  <a:pt x="725610" y="494837"/>
                  <a:pt x="724651" y="496551"/>
                  <a:pt x="725465" y="497886"/>
                </a:cubicBezTo>
                <a:lnTo>
                  <a:pt x="736711" y="516333"/>
                </a:lnTo>
                <a:cubicBezTo>
                  <a:pt x="737534" y="517657"/>
                  <a:pt x="737972" y="519183"/>
                  <a:pt x="737970" y="520742"/>
                </a:cubicBezTo>
                <a:lnTo>
                  <a:pt x="737970" y="520667"/>
                </a:lnTo>
                <a:cubicBezTo>
                  <a:pt x="738003" y="593010"/>
                  <a:pt x="738003" y="690495"/>
                  <a:pt x="737970" y="763525"/>
                </a:cubicBezTo>
                <a:cubicBezTo>
                  <a:pt x="737970" y="765189"/>
                  <a:pt x="739321" y="766520"/>
                  <a:pt x="740984" y="766514"/>
                </a:cubicBezTo>
                <a:lnTo>
                  <a:pt x="850684" y="766514"/>
                </a:lnTo>
                <a:cubicBezTo>
                  <a:pt x="862258" y="766471"/>
                  <a:pt x="873685" y="764691"/>
                  <a:pt x="884846" y="761544"/>
                </a:cubicBezTo>
                <a:cubicBezTo>
                  <a:pt x="900550" y="757117"/>
                  <a:pt x="914548" y="749613"/>
                  <a:pt x="925849" y="737695"/>
                </a:cubicBezTo>
                <a:cubicBezTo>
                  <a:pt x="938525" y="724327"/>
                  <a:pt x="945786" y="708362"/>
                  <a:pt x="947658" y="689922"/>
                </a:cubicBezTo>
                <a:cubicBezTo>
                  <a:pt x="949266" y="674046"/>
                  <a:pt x="946419" y="658071"/>
                  <a:pt x="938934" y="643977"/>
                </a:cubicBezTo>
                <a:lnTo>
                  <a:pt x="938937" y="643974"/>
                </a:lnTo>
                <a:cubicBezTo>
                  <a:pt x="929201" y="625636"/>
                  <a:pt x="914004" y="613857"/>
                  <a:pt x="893188" y="609239"/>
                </a:cubicBezTo>
                <a:cubicBezTo>
                  <a:pt x="888800" y="608267"/>
                  <a:pt x="884285" y="607862"/>
                  <a:pt x="879862" y="607328"/>
                </a:cubicBezTo>
                <a:cubicBezTo>
                  <a:pt x="879154" y="607242"/>
                  <a:pt x="878983" y="606293"/>
                  <a:pt x="879615" y="605966"/>
                </a:cubicBezTo>
                <a:cubicBezTo>
                  <a:pt x="885749" y="602826"/>
                  <a:pt x="903576" y="593297"/>
                  <a:pt x="911160" y="585634"/>
                </a:cubicBezTo>
                <a:cubicBezTo>
                  <a:pt x="922738" y="573934"/>
                  <a:pt x="930500" y="560332"/>
                  <a:pt x="930810" y="543378"/>
                </a:cubicBezTo>
                <a:cubicBezTo>
                  <a:pt x="931063" y="529499"/>
                  <a:pt x="925872" y="518099"/>
                  <a:pt x="914761" y="509606"/>
                </a:cubicBezTo>
                <a:cubicBezTo>
                  <a:pt x="907131" y="503772"/>
                  <a:pt x="898365" y="500397"/>
                  <a:pt x="889088" y="498265"/>
                </a:cubicBezTo>
                <a:cubicBezTo>
                  <a:pt x="878030" y="495720"/>
                  <a:pt x="866767" y="494873"/>
                  <a:pt x="855459" y="494857"/>
                </a:cubicBezTo>
                <a:lnTo>
                  <a:pt x="737970" y="494837"/>
                </a:lnTo>
                <a:close/>
                <a:moveTo>
                  <a:pt x="643630" y="494827"/>
                </a:moveTo>
                <a:cubicBezTo>
                  <a:pt x="642071" y="494827"/>
                  <a:pt x="641109" y="496528"/>
                  <a:pt x="641910" y="497862"/>
                </a:cubicBezTo>
                <a:lnTo>
                  <a:pt x="653396" y="517034"/>
                </a:lnTo>
                <a:cubicBezTo>
                  <a:pt x="653956" y="517984"/>
                  <a:pt x="654253" y="519065"/>
                  <a:pt x="654256" y="520169"/>
                </a:cubicBezTo>
                <a:cubicBezTo>
                  <a:pt x="654279" y="534982"/>
                  <a:pt x="654288" y="553033"/>
                  <a:pt x="654292" y="571083"/>
                </a:cubicBezTo>
                <a:lnTo>
                  <a:pt x="654295" y="620214"/>
                </a:lnTo>
                <a:lnTo>
                  <a:pt x="651580" y="621908"/>
                </a:lnTo>
                <a:lnTo>
                  <a:pt x="606908" y="606246"/>
                </a:lnTo>
                <a:cubicBezTo>
                  <a:pt x="606206" y="605970"/>
                  <a:pt x="605425" y="605970"/>
                  <a:pt x="604719" y="606243"/>
                </a:cubicBezTo>
                <a:lnTo>
                  <a:pt x="559494" y="621955"/>
                </a:lnTo>
                <a:cubicBezTo>
                  <a:pt x="558179" y="622465"/>
                  <a:pt x="556715" y="623362"/>
                  <a:pt x="556715" y="621955"/>
                </a:cubicBezTo>
                <a:lnTo>
                  <a:pt x="556712" y="620185"/>
                </a:lnTo>
                <a:lnTo>
                  <a:pt x="556712" y="497846"/>
                </a:lnTo>
                <a:cubicBezTo>
                  <a:pt x="556712" y="496185"/>
                  <a:pt x="555364" y="494837"/>
                  <a:pt x="553703" y="494837"/>
                </a:cubicBezTo>
                <a:lnTo>
                  <a:pt x="495212" y="494837"/>
                </a:lnTo>
                <a:cubicBezTo>
                  <a:pt x="493649" y="494837"/>
                  <a:pt x="492687" y="496551"/>
                  <a:pt x="493501" y="497886"/>
                </a:cubicBezTo>
                <a:lnTo>
                  <a:pt x="504750" y="516412"/>
                </a:lnTo>
                <a:cubicBezTo>
                  <a:pt x="505574" y="517736"/>
                  <a:pt x="506012" y="519262"/>
                  <a:pt x="506009" y="520821"/>
                </a:cubicBezTo>
                <a:cubicBezTo>
                  <a:pt x="505982" y="594082"/>
                  <a:pt x="505982" y="667342"/>
                  <a:pt x="506012" y="740605"/>
                </a:cubicBezTo>
                <a:cubicBezTo>
                  <a:pt x="506012" y="742088"/>
                  <a:pt x="505597" y="743538"/>
                  <a:pt x="504816" y="744797"/>
                </a:cubicBezTo>
                <a:lnTo>
                  <a:pt x="493478" y="763465"/>
                </a:lnTo>
                <a:cubicBezTo>
                  <a:pt x="492667" y="764803"/>
                  <a:pt x="493630" y="766514"/>
                  <a:pt x="495192" y="766514"/>
                </a:cubicBezTo>
                <a:lnTo>
                  <a:pt x="567499" y="766514"/>
                </a:lnTo>
                <a:cubicBezTo>
                  <a:pt x="569058" y="766514"/>
                  <a:pt x="570021" y="764813"/>
                  <a:pt x="569220" y="763475"/>
                </a:cubicBezTo>
                <a:lnTo>
                  <a:pt x="557800" y="744441"/>
                </a:lnTo>
                <a:cubicBezTo>
                  <a:pt x="557164" y="743364"/>
                  <a:pt x="556827" y="742118"/>
                  <a:pt x="556824" y="740865"/>
                </a:cubicBezTo>
                <a:cubicBezTo>
                  <a:pt x="556778" y="705587"/>
                  <a:pt x="556781" y="700086"/>
                  <a:pt x="556785" y="667328"/>
                </a:cubicBezTo>
                <a:lnTo>
                  <a:pt x="556771" y="659699"/>
                </a:lnTo>
                <a:lnTo>
                  <a:pt x="556765" y="654475"/>
                </a:lnTo>
                <a:cubicBezTo>
                  <a:pt x="556785" y="653466"/>
                  <a:pt x="557351" y="652530"/>
                  <a:pt x="558202" y="651986"/>
                </a:cubicBezTo>
                <a:cubicBezTo>
                  <a:pt x="564695" y="647847"/>
                  <a:pt x="592301" y="630244"/>
                  <a:pt x="604713" y="622393"/>
                </a:cubicBezTo>
                <a:cubicBezTo>
                  <a:pt x="605352" y="621991"/>
                  <a:pt x="606163" y="621991"/>
                  <a:pt x="606799" y="622399"/>
                </a:cubicBezTo>
                <a:lnTo>
                  <a:pt x="652987" y="652023"/>
                </a:lnTo>
                <a:cubicBezTo>
                  <a:pt x="653788" y="652537"/>
                  <a:pt x="654276" y="653397"/>
                  <a:pt x="654345" y="654336"/>
                </a:cubicBezTo>
                <a:lnTo>
                  <a:pt x="654351" y="658509"/>
                </a:lnTo>
                <a:lnTo>
                  <a:pt x="654365" y="667065"/>
                </a:lnTo>
                <a:lnTo>
                  <a:pt x="654365" y="763495"/>
                </a:lnTo>
                <a:cubicBezTo>
                  <a:pt x="654365" y="765156"/>
                  <a:pt x="655713" y="766504"/>
                  <a:pt x="657374" y="766504"/>
                </a:cubicBezTo>
                <a:lnTo>
                  <a:pt x="716218" y="766504"/>
                </a:lnTo>
                <a:cubicBezTo>
                  <a:pt x="717777" y="766504"/>
                  <a:pt x="718739" y="764803"/>
                  <a:pt x="717938" y="763468"/>
                </a:cubicBezTo>
                <a:lnTo>
                  <a:pt x="706696" y="744702"/>
                </a:lnTo>
                <a:cubicBezTo>
                  <a:pt x="706020" y="743552"/>
                  <a:pt x="705664" y="742240"/>
                  <a:pt x="705664" y="740905"/>
                </a:cubicBezTo>
                <a:lnTo>
                  <a:pt x="705618" y="497836"/>
                </a:lnTo>
                <a:cubicBezTo>
                  <a:pt x="705618" y="496175"/>
                  <a:pt x="704270" y="494827"/>
                  <a:pt x="702609" y="494827"/>
                </a:cubicBezTo>
                <a:close/>
                <a:moveTo>
                  <a:pt x="957183" y="494827"/>
                </a:moveTo>
                <a:cubicBezTo>
                  <a:pt x="955617" y="494827"/>
                  <a:pt x="954658" y="496541"/>
                  <a:pt x="955472" y="497876"/>
                </a:cubicBezTo>
                <a:lnTo>
                  <a:pt x="966718" y="516405"/>
                </a:lnTo>
                <a:cubicBezTo>
                  <a:pt x="967542" y="517730"/>
                  <a:pt x="967980" y="519256"/>
                  <a:pt x="967977" y="520815"/>
                </a:cubicBezTo>
                <a:lnTo>
                  <a:pt x="967977" y="578087"/>
                </a:lnTo>
                <a:cubicBezTo>
                  <a:pt x="967977" y="578087"/>
                  <a:pt x="967960" y="578087"/>
                  <a:pt x="967960" y="578087"/>
                </a:cubicBezTo>
                <a:lnTo>
                  <a:pt x="967960" y="740608"/>
                </a:lnTo>
                <a:cubicBezTo>
                  <a:pt x="967960" y="742167"/>
                  <a:pt x="967522" y="743693"/>
                  <a:pt x="966701" y="745018"/>
                </a:cubicBezTo>
                <a:lnTo>
                  <a:pt x="955456" y="763465"/>
                </a:lnTo>
                <a:cubicBezTo>
                  <a:pt x="954642" y="764800"/>
                  <a:pt x="955604" y="766514"/>
                  <a:pt x="957166" y="766514"/>
                </a:cubicBezTo>
                <a:lnTo>
                  <a:pt x="1029563" y="766514"/>
                </a:lnTo>
                <a:cubicBezTo>
                  <a:pt x="1031128" y="766514"/>
                  <a:pt x="1032088" y="764800"/>
                  <a:pt x="1031273" y="763465"/>
                </a:cubicBezTo>
                <a:lnTo>
                  <a:pt x="1020028" y="745018"/>
                </a:lnTo>
                <a:cubicBezTo>
                  <a:pt x="1019230" y="743733"/>
                  <a:pt x="1018802" y="742256"/>
                  <a:pt x="1018779" y="740744"/>
                </a:cubicBezTo>
                <a:cubicBezTo>
                  <a:pt x="1018759" y="698445"/>
                  <a:pt x="1018759" y="637106"/>
                  <a:pt x="1018759" y="625020"/>
                </a:cubicBezTo>
                <a:cubicBezTo>
                  <a:pt x="1018759" y="623362"/>
                  <a:pt x="1020120" y="622050"/>
                  <a:pt x="1021778" y="622050"/>
                </a:cubicBezTo>
                <a:cubicBezTo>
                  <a:pt x="1037377" y="622050"/>
                  <a:pt x="1050439" y="625395"/>
                  <a:pt x="1062063" y="630626"/>
                </a:cubicBezTo>
                <a:cubicBezTo>
                  <a:pt x="1072992" y="635543"/>
                  <a:pt x="1083213" y="641357"/>
                  <a:pt x="1089874" y="652112"/>
                </a:cubicBezTo>
                <a:cubicBezTo>
                  <a:pt x="1090029" y="652362"/>
                  <a:pt x="1090263" y="652556"/>
                  <a:pt x="1090460" y="652784"/>
                </a:cubicBezTo>
                <a:cubicBezTo>
                  <a:pt x="1091676" y="654168"/>
                  <a:pt x="1093960" y="653301"/>
                  <a:pt x="1093960" y="651459"/>
                </a:cubicBezTo>
                <a:lnTo>
                  <a:pt x="1093960" y="609470"/>
                </a:lnTo>
                <a:cubicBezTo>
                  <a:pt x="1093960" y="607809"/>
                  <a:pt x="1092616" y="606464"/>
                  <a:pt x="1090955" y="606464"/>
                </a:cubicBezTo>
                <a:lnTo>
                  <a:pt x="1082507" y="606464"/>
                </a:lnTo>
                <a:lnTo>
                  <a:pt x="1082507" y="606461"/>
                </a:lnTo>
                <a:lnTo>
                  <a:pt x="1020839" y="606461"/>
                </a:lnTo>
                <a:cubicBezTo>
                  <a:pt x="1019731" y="606461"/>
                  <a:pt x="1018835" y="605564"/>
                  <a:pt x="1018835" y="604457"/>
                </a:cubicBezTo>
                <a:lnTo>
                  <a:pt x="1018835" y="512582"/>
                </a:lnTo>
                <a:cubicBezTo>
                  <a:pt x="1018835" y="511481"/>
                  <a:pt x="1019715" y="510588"/>
                  <a:pt x="1020816" y="510578"/>
                </a:cubicBezTo>
                <a:cubicBezTo>
                  <a:pt x="1027104" y="510525"/>
                  <a:pt x="1046207" y="510423"/>
                  <a:pt x="1046441" y="510430"/>
                </a:cubicBezTo>
                <a:cubicBezTo>
                  <a:pt x="1058787" y="510647"/>
                  <a:pt x="1071104" y="511323"/>
                  <a:pt x="1083302" y="513396"/>
                </a:cubicBezTo>
                <a:cubicBezTo>
                  <a:pt x="1096149" y="515578"/>
                  <a:pt x="1108357" y="521415"/>
                  <a:pt x="1119658" y="527983"/>
                </a:cubicBezTo>
                <a:cubicBezTo>
                  <a:pt x="1130175" y="534094"/>
                  <a:pt x="1139143" y="539763"/>
                  <a:pt x="1147482" y="548526"/>
                </a:cubicBezTo>
                <a:cubicBezTo>
                  <a:pt x="1147950" y="549014"/>
                  <a:pt x="1148414" y="549508"/>
                  <a:pt x="1148886" y="550009"/>
                </a:cubicBezTo>
                <a:cubicBezTo>
                  <a:pt x="1150132" y="551334"/>
                  <a:pt x="1152353" y="550458"/>
                  <a:pt x="1152353" y="548642"/>
                </a:cubicBezTo>
                <a:lnTo>
                  <a:pt x="1152353" y="497843"/>
                </a:lnTo>
                <a:cubicBezTo>
                  <a:pt x="1152353" y="496182"/>
                  <a:pt x="1151008" y="494837"/>
                  <a:pt x="1149347" y="494837"/>
                </a:cubicBezTo>
                <a:close/>
                <a:moveTo>
                  <a:pt x="2878302" y="242468"/>
                </a:moveTo>
                <a:cubicBezTo>
                  <a:pt x="2858896" y="242416"/>
                  <a:pt x="2839491" y="247766"/>
                  <a:pt x="2822499" y="258467"/>
                </a:cubicBezTo>
                <a:cubicBezTo>
                  <a:pt x="2158299" y="678888"/>
                  <a:pt x="679694" y="1621684"/>
                  <a:pt x="331864" y="1843230"/>
                </a:cubicBezTo>
                <a:cubicBezTo>
                  <a:pt x="286126" y="1872178"/>
                  <a:pt x="255916" y="1922104"/>
                  <a:pt x="255077" y="1976234"/>
                </a:cubicBezTo>
                <a:lnTo>
                  <a:pt x="255077" y="2256091"/>
                </a:lnTo>
                <a:lnTo>
                  <a:pt x="255916" y="2664764"/>
                </a:lnTo>
                <a:cubicBezTo>
                  <a:pt x="255916" y="4367432"/>
                  <a:pt x="255916" y="4694699"/>
                  <a:pt x="258018" y="6440581"/>
                </a:cubicBezTo>
                <a:cubicBezTo>
                  <a:pt x="258018" y="6529116"/>
                  <a:pt x="331025" y="6602123"/>
                  <a:pt x="419553" y="6602123"/>
                </a:cubicBezTo>
                <a:lnTo>
                  <a:pt x="4723620" y="6602123"/>
                </a:lnTo>
                <a:lnTo>
                  <a:pt x="4723204" y="6602539"/>
                </a:lnTo>
                <a:lnTo>
                  <a:pt x="5319849" y="6602539"/>
                </a:lnTo>
                <a:cubicBezTo>
                  <a:pt x="5408800" y="6602539"/>
                  <a:pt x="5480968" y="6530371"/>
                  <a:pt x="5480968" y="6441420"/>
                </a:cubicBezTo>
                <a:lnTo>
                  <a:pt x="5480968" y="2650504"/>
                </a:lnTo>
                <a:cubicBezTo>
                  <a:pt x="5480968" y="2650504"/>
                  <a:pt x="5480129" y="2192315"/>
                  <a:pt x="5480129" y="2192315"/>
                </a:cubicBezTo>
                <a:lnTo>
                  <a:pt x="5480129" y="1969104"/>
                </a:lnTo>
                <a:cubicBezTo>
                  <a:pt x="5476350" y="1919171"/>
                  <a:pt x="5450335" y="1872594"/>
                  <a:pt x="5407538" y="1845324"/>
                </a:cubicBezTo>
                <a:lnTo>
                  <a:pt x="2934108" y="258890"/>
                </a:lnTo>
                <a:cubicBezTo>
                  <a:pt x="2917114" y="247978"/>
                  <a:pt x="2897707" y="242521"/>
                  <a:pt x="2878302" y="242468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8394170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Image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7B391E72-B244-844B-CF12-6F946AC8A21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" y="0"/>
            <a:ext cx="12191999" cy="6858000"/>
          </a:xfrm>
          <a:custGeom>
            <a:avLst/>
            <a:gdLst>
              <a:gd name="connsiteX0" fmla="*/ 851787 w 12191999"/>
              <a:gd name="connsiteY0" fmla="*/ 622268 h 6858000"/>
              <a:gd name="connsiteX1" fmla="*/ 879625 w 12191999"/>
              <a:gd name="connsiteY1" fmla="*/ 637883 h 6858000"/>
              <a:gd name="connsiteX2" fmla="*/ 893277 w 12191999"/>
              <a:gd name="connsiteY2" fmla="*/ 667955 h 6858000"/>
              <a:gd name="connsiteX3" fmla="*/ 891586 w 12191999"/>
              <a:gd name="connsiteY3" fmla="*/ 699793 h 6858000"/>
              <a:gd name="connsiteX4" fmla="*/ 891582 w 12191999"/>
              <a:gd name="connsiteY4" fmla="*/ 699793 h 6858000"/>
              <a:gd name="connsiteX5" fmla="*/ 867360 w 12191999"/>
              <a:gd name="connsiteY5" fmla="*/ 738114 h 6858000"/>
              <a:gd name="connsiteX6" fmla="*/ 838249 w 12191999"/>
              <a:gd name="connsiteY6" fmla="*/ 747879 h 6858000"/>
              <a:gd name="connsiteX7" fmla="*/ 790819 w 12191999"/>
              <a:gd name="connsiteY7" fmla="*/ 747843 h 6858000"/>
              <a:gd name="connsiteX8" fmla="*/ 788827 w 12191999"/>
              <a:gd name="connsiteY8" fmla="*/ 745852 h 6858000"/>
              <a:gd name="connsiteX9" fmla="*/ 788792 w 12191999"/>
              <a:gd name="connsiteY9" fmla="*/ 641512 h 6858000"/>
              <a:gd name="connsiteX10" fmla="*/ 790641 w 12191999"/>
              <a:gd name="connsiteY10" fmla="*/ 638773 h 6858000"/>
              <a:gd name="connsiteX11" fmla="*/ 847764 w 12191999"/>
              <a:gd name="connsiteY11" fmla="*/ 622386 h 6858000"/>
              <a:gd name="connsiteX12" fmla="*/ 851787 w 12191999"/>
              <a:gd name="connsiteY12" fmla="*/ 622268 h 6858000"/>
              <a:gd name="connsiteX13" fmla="*/ 790947 w 12191999"/>
              <a:gd name="connsiteY13" fmla="*/ 510426 h 6858000"/>
              <a:gd name="connsiteX14" fmla="*/ 798959 w 12191999"/>
              <a:gd name="connsiteY14" fmla="*/ 510426 h 6858000"/>
              <a:gd name="connsiteX15" fmla="*/ 831973 w 12191999"/>
              <a:gd name="connsiteY15" fmla="*/ 510776 h 6858000"/>
              <a:gd name="connsiteX16" fmla="*/ 859857 w 12191999"/>
              <a:gd name="connsiteY16" fmla="*/ 516527 h 6858000"/>
              <a:gd name="connsiteX17" fmla="*/ 880607 w 12191999"/>
              <a:gd name="connsiteY17" fmla="*/ 542333 h 6858000"/>
              <a:gd name="connsiteX18" fmla="*/ 874177 w 12191999"/>
              <a:gd name="connsiteY18" fmla="*/ 574580 h 6858000"/>
              <a:gd name="connsiteX19" fmla="*/ 806873 w 12191999"/>
              <a:gd name="connsiteY19" fmla="*/ 616032 h 6858000"/>
              <a:gd name="connsiteX20" fmla="*/ 791537 w 12191999"/>
              <a:gd name="connsiteY20" fmla="*/ 621918 h 6858000"/>
              <a:gd name="connsiteX21" fmla="*/ 788817 w 12191999"/>
              <a:gd name="connsiteY21" fmla="*/ 620056 h 6858000"/>
              <a:gd name="connsiteX22" fmla="*/ 788940 w 12191999"/>
              <a:gd name="connsiteY22" fmla="*/ 538418 h 6858000"/>
              <a:gd name="connsiteX23" fmla="*/ 788942 w 12191999"/>
              <a:gd name="connsiteY23" fmla="*/ 538421 h 6858000"/>
              <a:gd name="connsiteX24" fmla="*/ 788942 w 12191999"/>
              <a:gd name="connsiteY24" fmla="*/ 512430 h 6858000"/>
              <a:gd name="connsiteX25" fmla="*/ 790947 w 12191999"/>
              <a:gd name="connsiteY25" fmla="*/ 510426 h 6858000"/>
              <a:gd name="connsiteX26" fmla="*/ 727176 w 12191999"/>
              <a:gd name="connsiteY26" fmla="*/ 494837 h 6858000"/>
              <a:gd name="connsiteX27" fmla="*/ 725465 w 12191999"/>
              <a:gd name="connsiteY27" fmla="*/ 497886 h 6858000"/>
              <a:gd name="connsiteX28" fmla="*/ 736711 w 12191999"/>
              <a:gd name="connsiteY28" fmla="*/ 516333 h 6858000"/>
              <a:gd name="connsiteX29" fmla="*/ 737970 w 12191999"/>
              <a:gd name="connsiteY29" fmla="*/ 520742 h 6858000"/>
              <a:gd name="connsiteX30" fmla="*/ 737970 w 12191999"/>
              <a:gd name="connsiteY30" fmla="*/ 520667 h 6858000"/>
              <a:gd name="connsiteX31" fmla="*/ 737970 w 12191999"/>
              <a:gd name="connsiteY31" fmla="*/ 763525 h 6858000"/>
              <a:gd name="connsiteX32" fmla="*/ 740984 w 12191999"/>
              <a:gd name="connsiteY32" fmla="*/ 766514 h 6858000"/>
              <a:gd name="connsiteX33" fmla="*/ 850684 w 12191999"/>
              <a:gd name="connsiteY33" fmla="*/ 766514 h 6858000"/>
              <a:gd name="connsiteX34" fmla="*/ 884846 w 12191999"/>
              <a:gd name="connsiteY34" fmla="*/ 761544 h 6858000"/>
              <a:gd name="connsiteX35" fmla="*/ 925849 w 12191999"/>
              <a:gd name="connsiteY35" fmla="*/ 737695 h 6858000"/>
              <a:gd name="connsiteX36" fmla="*/ 947658 w 12191999"/>
              <a:gd name="connsiteY36" fmla="*/ 689922 h 6858000"/>
              <a:gd name="connsiteX37" fmla="*/ 938934 w 12191999"/>
              <a:gd name="connsiteY37" fmla="*/ 643977 h 6858000"/>
              <a:gd name="connsiteX38" fmla="*/ 938937 w 12191999"/>
              <a:gd name="connsiteY38" fmla="*/ 643974 h 6858000"/>
              <a:gd name="connsiteX39" fmla="*/ 893188 w 12191999"/>
              <a:gd name="connsiteY39" fmla="*/ 609239 h 6858000"/>
              <a:gd name="connsiteX40" fmla="*/ 879862 w 12191999"/>
              <a:gd name="connsiteY40" fmla="*/ 607328 h 6858000"/>
              <a:gd name="connsiteX41" fmla="*/ 879615 w 12191999"/>
              <a:gd name="connsiteY41" fmla="*/ 605966 h 6858000"/>
              <a:gd name="connsiteX42" fmla="*/ 911160 w 12191999"/>
              <a:gd name="connsiteY42" fmla="*/ 585634 h 6858000"/>
              <a:gd name="connsiteX43" fmla="*/ 930810 w 12191999"/>
              <a:gd name="connsiteY43" fmla="*/ 543378 h 6858000"/>
              <a:gd name="connsiteX44" fmla="*/ 914761 w 12191999"/>
              <a:gd name="connsiteY44" fmla="*/ 509606 h 6858000"/>
              <a:gd name="connsiteX45" fmla="*/ 889088 w 12191999"/>
              <a:gd name="connsiteY45" fmla="*/ 498265 h 6858000"/>
              <a:gd name="connsiteX46" fmla="*/ 855459 w 12191999"/>
              <a:gd name="connsiteY46" fmla="*/ 494857 h 6858000"/>
              <a:gd name="connsiteX47" fmla="*/ 737970 w 12191999"/>
              <a:gd name="connsiteY47" fmla="*/ 494837 h 6858000"/>
              <a:gd name="connsiteX48" fmla="*/ 643630 w 12191999"/>
              <a:gd name="connsiteY48" fmla="*/ 494827 h 6858000"/>
              <a:gd name="connsiteX49" fmla="*/ 641910 w 12191999"/>
              <a:gd name="connsiteY49" fmla="*/ 497862 h 6858000"/>
              <a:gd name="connsiteX50" fmla="*/ 653396 w 12191999"/>
              <a:gd name="connsiteY50" fmla="*/ 517034 h 6858000"/>
              <a:gd name="connsiteX51" fmla="*/ 654256 w 12191999"/>
              <a:gd name="connsiteY51" fmla="*/ 520169 h 6858000"/>
              <a:gd name="connsiteX52" fmla="*/ 654292 w 12191999"/>
              <a:gd name="connsiteY52" fmla="*/ 571083 h 6858000"/>
              <a:gd name="connsiteX53" fmla="*/ 654295 w 12191999"/>
              <a:gd name="connsiteY53" fmla="*/ 620214 h 6858000"/>
              <a:gd name="connsiteX54" fmla="*/ 651580 w 12191999"/>
              <a:gd name="connsiteY54" fmla="*/ 621908 h 6858000"/>
              <a:gd name="connsiteX55" fmla="*/ 606908 w 12191999"/>
              <a:gd name="connsiteY55" fmla="*/ 606246 h 6858000"/>
              <a:gd name="connsiteX56" fmla="*/ 604719 w 12191999"/>
              <a:gd name="connsiteY56" fmla="*/ 606243 h 6858000"/>
              <a:gd name="connsiteX57" fmla="*/ 559494 w 12191999"/>
              <a:gd name="connsiteY57" fmla="*/ 621955 h 6858000"/>
              <a:gd name="connsiteX58" fmla="*/ 556715 w 12191999"/>
              <a:gd name="connsiteY58" fmla="*/ 621955 h 6858000"/>
              <a:gd name="connsiteX59" fmla="*/ 556712 w 12191999"/>
              <a:gd name="connsiteY59" fmla="*/ 620185 h 6858000"/>
              <a:gd name="connsiteX60" fmla="*/ 556712 w 12191999"/>
              <a:gd name="connsiteY60" fmla="*/ 497846 h 6858000"/>
              <a:gd name="connsiteX61" fmla="*/ 553703 w 12191999"/>
              <a:gd name="connsiteY61" fmla="*/ 494837 h 6858000"/>
              <a:gd name="connsiteX62" fmla="*/ 495212 w 12191999"/>
              <a:gd name="connsiteY62" fmla="*/ 494837 h 6858000"/>
              <a:gd name="connsiteX63" fmla="*/ 493501 w 12191999"/>
              <a:gd name="connsiteY63" fmla="*/ 497886 h 6858000"/>
              <a:gd name="connsiteX64" fmla="*/ 504750 w 12191999"/>
              <a:gd name="connsiteY64" fmla="*/ 516412 h 6858000"/>
              <a:gd name="connsiteX65" fmla="*/ 506009 w 12191999"/>
              <a:gd name="connsiteY65" fmla="*/ 520821 h 6858000"/>
              <a:gd name="connsiteX66" fmla="*/ 506012 w 12191999"/>
              <a:gd name="connsiteY66" fmla="*/ 740605 h 6858000"/>
              <a:gd name="connsiteX67" fmla="*/ 504816 w 12191999"/>
              <a:gd name="connsiteY67" fmla="*/ 744797 h 6858000"/>
              <a:gd name="connsiteX68" fmla="*/ 493478 w 12191999"/>
              <a:gd name="connsiteY68" fmla="*/ 763465 h 6858000"/>
              <a:gd name="connsiteX69" fmla="*/ 495192 w 12191999"/>
              <a:gd name="connsiteY69" fmla="*/ 766514 h 6858000"/>
              <a:gd name="connsiteX70" fmla="*/ 567499 w 12191999"/>
              <a:gd name="connsiteY70" fmla="*/ 766514 h 6858000"/>
              <a:gd name="connsiteX71" fmla="*/ 569220 w 12191999"/>
              <a:gd name="connsiteY71" fmla="*/ 763475 h 6858000"/>
              <a:gd name="connsiteX72" fmla="*/ 557800 w 12191999"/>
              <a:gd name="connsiteY72" fmla="*/ 744441 h 6858000"/>
              <a:gd name="connsiteX73" fmla="*/ 556824 w 12191999"/>
              <a:gd name="connsiteY73" fmla="*/ 740865 h 6858000"/>
              <a:gd name="connsiteX74" fmla="*/ 556785 w 12191999"/>
              <a:gd name="connsiteY74" fmla="*/ 667328 h 6858000"/>
              <a:gd name="connsiteX75" fmla="*/ 556771 w 12191999"/>
              <a:gd name="connsiteY75" fmla="*/ 659699 h 6858000"/>
              <a:gd name="connsiteX76" fmla="*/ 556765 w 12191999"/>
              <a:gd name="connsiteY76" fmla="*/ 654475 h 6858000"/>
              <a:gd name="connsiteX77" fmla="*/ 558202 w 12191999"/>
              <a:gd name="connsiteY77" fmla="*/ 651986 h 6858000"/>
              <a:gd name="connsiteX78" fmla="*/ 604713 w 12191999"/>
              <a:gd name="connsiteY78" fmla="*/ 622393 h 6858000"/>
              <a:gd name="connsiteX79" fmla="*/ 606799 w 12191999"/>
              <a:gd name="connsiteY79" fmla="*/ 622399 h 6858000"/>
              <a:gd name="connsiteX80" fmla="*/ 652987 w 12191999"/>
              <a:gd name="connsiteY80" fmla="*/ 652023 h 6858000"/>
              <a:gd name="connsiteX81" fmla="*/ 654345 w 12191999"/>
              <a:gd name="connsiteY81" fmla="*/ 654336 h 6858000"/>
              <a:gd name="connsiteX82" fmla="*/ 654351 w 12191999"/>
              <a:gd name="connsiteY82" fmla="*/ 658509 h 6858000"/>
              <a:gd name="connsiteX83" fmla="*/ 654365 w 12191999"/>
              <a:gd name="connsiteY83" fmla="*/ 667065 h 6858000"/>
              <a:gd name="connsiteX84" fmla="*/ 654365 w 12191999"/>
              <a:gd name="connsiteY84" fmla="*/ 763495 h 6858000"/>
              <a:gd name="connsiteX85" fmla="*/ 657374 w 12191999"/>
              <a:gd name="connsiteY85" fmla="*/ 766504 h 6858000"/>
              <a:gd name="connsiteX86" fmla="*/ 716218 w 12191999"/>
              <a:gd name="connsiteY86" fmla="*/ 766504 h 6858000"/>
              <a:gd name="connsiteX87" fmla="*/ 717938 w 12191999"/>
              <a:gd name="connsiteY87" fmla="*/ 763468 h 6858000"/>
              <a:gd name="connsiteX88" fmla="*/ 706696 w 12191999"/>
              <a:gd name="connsiteY88" fmla="*/ 744702 h 6858000"/>
              <a:gd name="connsiteX89" fmla="*/ 705664 w 12191999"/>
              <a:gd name="connsiteY89" fmla="*/ 740905 h 6858000"/>
              <a:gd name="connsiteX90" fmla="*/ 705618 w 12191999"/>
              <a:gd name="connsiteY90" fmla="*/ 497836 h 6858000"/>
              <a:gd name="connsiteX91" fmla="*/ 702609 w 12191999"/>
              <a:gd name="connsiteY91" fmla="*/ 494827 h 6858000"/>
              <a:gd name="connsiteX92" fmla="*/ 957183 w 12191999"/>
              <a:gd name="connsiteY92" fmla="*/ 494827 h 6858000"/>
              <a:gd name="connsiteX93" fmla="*/ 955472 w 12191999"/>
              <a:gd name="connsiteY93" fmla="*/ 497876 h 6858000"/>
              <a:gd name="connsiteX94" fmla="*/ 966718 w 12191999"/>
              <a:gd name="connsiteY94" fmla="*/ 516405 h 6858000"/>
              <a:gd name="connsiteX95" fmla="*/ 967977 w 12191999"/>
              <a:gd name="connsiteY95" fmla="*/ 520815 h 6858000"/>
              <a:gd name="connsiteX96" fmla="*/ 967977 w 12191999"/>
              <a:gd name="connsiteY96" fmla="*/ 578087 h 6858000"/>
              <a:gd name="connsiteX97" fmla="*/ 967960 w 12191999"/>
              <a:gd name="connsiteY97" fmla="*/ 578087 h 6858000"/>
              <a:gd name="connsiteX98" fmla="*/ 967960 w 12191999"/>
              <a:gd name="connsiteY98" fmla="*/ 740608 h 6858000"/>
              <a:gd name="connsiteX99" fmla="*/ 966701 w 12191999"/>
              <a:gd name="connsiteY99" fmla="*/ 745018 h 6858000"/>
              <a:gd name="connsiteX100" fmla="*/ 955456 w 12191999"/>
              <a:gd name="connsiteY100" fmla="*/ 763465 h 6858000"/>
              <a:gd name="connsiteX101" fmla="*/ 957166 w 12191999"/>
              <a:gd name="connsiteY101" fmla="*/ 766514 h 6858000"/>
              <a:gd name="connsiteX102" fmla="*/ 1029563 w 12191999"/>
              <a:gd name="connsiteY102" fmla="*/ 766514 h 6858000"/>
              <a:gd name="connsiteX103" fmla="*/ 1031273 w 12191999"/>
              <a:gd name="connsiteY103" fmla="*/ 763465 h 6858000"/>
              <a:gd name="connsiteX104" fmla="*/ 1020028 w 12191999"/>
              <a:gd name="connsiteY104" fmla="*/ 745018 h 6858000"/>
              <a:gd name="connsiteX105" fmla="*/ 1018779 w 12191999"/>
              <a:gd name="connsiteY105" fmla="*/ 740744 h 6858000"/>
              <a:gd name="connsiteX106" fmla="*/ 1018759 w 12191999"/>
              <a:gd name="connsiteY106" fmla="*/ 625020 h 6858000"/>
              <a:gd name="connsiteX107" fmla="*/ 1021778 w 12191999"/>
              <a:gd name="connsiteY107" fmla="*/ 622050 h 6858000"/>
              <a:gd name="connsiteX108" fmla="*/ 1062063 w 12191999"/>
              <a:gd name="connsiteY108" fmla="*/ 630626 h 6858000"/>
              <a:gd name="connsiteX109" fmla="*/ 1089874 w 12191999"/>
              <a:gd name="connsiteY109" fmla="*/ 652112 h 6858000"/>
              <a:gd name="connsiteX110" fmla="*/ 1090460 w 12191999"/>
              <a:gd name="connsiteY110" fmla="*/ 652784 h 6858000"/>
              <a:gd name="connsiteX111" fmla="*/ 1093960 w 12191999"/>
              <a:gd name="connsiteY111" fmla="*/ 651459 h 6858000"/>
              <a:gd name="connsiteX112" fmla="*/ 1093960 w 12191999"/>
              <a:gd name="connsiteY112" fmla="*/ 609470 h 6858000"/>
              <a:gd name="connsiteX113" fmla="*/ 1090955 w 12191999"/>
              <a:gd name="connsiteY113" fmla="*/ 606464 h 6858000"/>
              <a:gd name="connsiteX114" fmla="*/ 1082507 w 12191999"/>
              <a:gd name="connsiteY114" fmla="*/ 606464 h 6858000"/>
              <a:gd name="connsiteX115" fmla="*/ 1082507 w 12191999"/>
              <a:gd name="connsiteY115" fmla="*/ 606461 h 6858000"/>
              <a:gd name="connsiteX116" fmla="*/ 1020839 w 12191999"/>
              <a:gd name="connsiteY116" fmla="*/ 606461 h 6858000"/>
              <a:gd name="connsiteX117" fmla="*/ 1018835 w 12191999"/>
              <a:gd name="connsiteY117" fmla="*/ 604457 h 6858000"/>
              <a:gd name="connsiteX118" fmla="*/ 1018835 w 12191999"/>
              <a:gd name="connsiteY118" fmla="*/ 512582 h 6858000"/>
              <a:gd name="connsiteX119" fmla="*/ 1020816 w 12191999"/>
              <a:gd name="connsiteY119" fmla="*/ 510578 h 6858000"/>
              <a:gd name="connsiteX120" fmla="*/ 1046441 w 12191999"/>
              <a:gd name="connsiteY120" fmla="*/ 510430 h 6858000"/>
              <a:gd name="connsiteX121" fmla="*/ 1083302 w 12191999"/>
              <a:gd name="connsiteY121" fmla="*/ 513396 h 6858000"/>
              <a:gd name="connsiteX122" fmla="*/ 1119658 w 12191999"/>
              <a:gd name="connsiteY122" fmla="*/ 527983 h 6858000"/>
              <a:gd name="connsiteX123" fmla="*/ 1147482 w 12191999"/>
              <a:gd name="connsiteY123" fmla="*/ 548526 h 6858000"/>
              <a:gd name="connsiteX124" fmla="*/ 1148886 w 12191999"/>
              <a:gd name="connsiteY124" fmla="*/ 550009 h 6858000"/>
              <a:gd name="connsiteX125" fmla="*/ 1152353 w 12191999"/>
              <a:gd name="connsiteY125" fmla="*/ 548642 h 6858000"/>
              <a:gd name="connsiteX126" fmla="*/ 1152353 w 12191999"/>
              <a:gd name="connsiteY126" fmla="*/ 497843 h 6858000"/>
              <a:gd name="connsiteX127" fmla="*/ 1149347 w 12191999"/>
              <a:gd name="connsiteY127" fmla="*/ 494837 h 6858000"/>
              <a:gd name="connsiteX128" fmla="*/ 9334256 w 12191999"/>
              <a:gd name="connsiteY128" fmla="*/ 242472 h 6858000"/>
              <a:gd name="connsiteX129" fmla="*/ 9278452 w 12191999"/>
              <a:gd name="connsiteY129" fmla="*/ 258471 h 6858000"/>
              <a:gd name="connsiteX130" fmla="*/ 6787817 w 12191999"/>
              <a:gd name="connsiteY130" fmla="*/ 1843233 h 6858000"/>
              <a:gd name="connsiteX131" fmla="*/ 6711037 w 12191999"/>
              <a:gd name="connsiteY131" fmla="*/ 1976237 h 6858000"/>
              <a:gd name="connsiteX132" fmla="*/ 6711037 w 12191999"/>
              <a:gd name="connsiteY132" fmla="*/ 2256094 h 6858000"/>
              <a:gd name="connsiteX133" fmla="*/ 6711876 w 12191999"/>
              <a:gd name="connsiteY133" fmla="*/ 2664766 h 6858000"/>
              <a:gd name="connsiteX134" fmla="*/ 6713971 w 12191999"/>
              <a:gd name="connsiteY134" fmla="*/ 6440582 h 6858000"/>
              <a:gd name="connsiteX135" fmla="*/ 6875513 w 12191999"/>
              <a:gd name="connsiteY135" fmla="*/ 6602124 h 6858000"/>
              <a:gd name="connsiteX136" fmla="*/ 11179155 w 12191999"/>
              <a:gd name="connsiteY136" fmla="*/ 6602124 h 6858000"/>
              <a:gd name="connsiteX137" fmla="*/ 11179155 w 12191999"/>
              <a:gd name="connsiteY137" fmla="*/ 6602540 h 6858000"/>
              <a:gd name="connsiteX138" fmla="*/ 11775800 w 12191999"/>
              <a:gd name="connsiteY138" fmla="*/ 6602540 h 6858000"/>
              <a:gd name="connsiteX139" fmla="*/ 11936919 w 12191999"/>
              <a:gd name="connsiteY139" fmla="*/ 6441421 h 6858000"/>
              <a:gd name="connsiteX140" fmla="*/ 11936919 w 12191999"/>
              <a:gd name="connsiteY140" fmla="*/ 2650507 h 6858000"/>
              <a:gd name="connsiteX141" fmla="*/ 11936087 w 12191999"/>
              <a:gd name="connsiteY141" fmla="*/ 2192318 h 6858000"/>
              <a:gd name="connsiteX142" fmla="*/ 11936087 w 12191999"/>
              <a:gd name="connsiteY142" fmla="*/ 1969107 h 6858000"/>
              <a:gd name="connsiteX143" fmla="*/ 11863495 w 12191999"/>
              <a:gd name="connsiteY143" fmla="*/ 1845328 h 6858000"/>
              <a:gd name="connsiteX144" fmla="*/ 9390061 w 12191999"/>
              <a:gd name="connsiteY144" fmla="*/ 258894 h 6858000"/>
              <a:gd name="connsiteX145" fmla="*/ 9334256 w 12191999"/>
              <a:gd name="connsiteY145" fmla="*/ 242472 h 6858000"/>
              <a:gd name="connsiteX146" fmla="*/ 0 w 12191999"/>
              <a:gd name="connsiteY146" fmla="*/ 0 h 6858000"/>
              <a:gd name="connsiteX147" fmla="*/ 12191999 w 12191999"/>
              <a:gd name="connsiteY147" fmla="*/ 0 h 6858000"/>
              <a:gd name="connsiteX148" fmla="*/ 12191999 w 12191999"/>
              <a:gd name="connsiteY148" fmla="*/ 6858000 h 6858000"/>
              <a:gd name="connsiteX149" fmla="*/ 0 w 12191999"/>
              <a:gd name="connsiteY14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</a:cxnLst>
            <a:rect l="l" t="t" r="r" b="b"/>
            <a:pathLst>
              <a:path w="12191999" h="6858000">
                <a:moveTo>
                  <a:pt x="851787" y="622268"/>
                </a:moveTo>
                <a:cubicBezTo>
                  <a:pt x="862651" y="624621"/>
                  <a:pt x="872127" y="629538"/>
                  <a:pt x="879625" y="637883"/>
                </a:cubicBezTo>
                <a:cubicBezTo>
                  <a:pt x="887334" y="646463"/>
                  <a:pt x="891497" y="656693"/>
                  <a:pt x="893277" y="667955"/>
                </a:cubicBezTo>
                <a:cubicBezTo>
                  <a:pt x="894971" y="678673"/>
                  <a:pt x="894364" y="689328"/>
                  <a:pt x="891586" y="699793"/>
                </a:cubicBezTo>
                <a:lnTo>
                  <a:pt x="891582" y="699793"/>
                </a:lnTo>
                <a:cubicBezTo>
                  <a:pt x="887529" y="715076"/>
                  <a:pt x="880205" y="728387"/>
                  <a:pt x="867360" y="738114"/>
                </a:cubicBezTo>
                <a:cubicBezTo>
                  <a:pt x="859000" y="744445"/>
                  <a:pt x="848737" y="747807"/>
                  <a:pt x="838249" y="747879"/>
                </a:cubicBezTo>
                <a:cubicBezTo>
                  <a:pt x="824466" y="747978"/>
                  <a:pt x="798238" y="747892"/>
                  <a:pt x="790819" y="747843"/>
                </a:cubicBezTo>
                <a:cubicBezTo>
                  <a:pt x="789718" y="747836"/>
                  <a:pt x="788827" y="746953"/>
                  <a:pt x="788827" y="745852"/>
                </a:cubicBezTo>
                <a:cubicBezTo>
                  <a:pt x="788827" y="734732"/>
                  <a:pt x="788835" y="671765"/>
                  <a:pt x="788792" y="641512"/>
                </a:cubicBezTo>
                <a:cubicBezTo>
                  <a:pt x="788792" y="640306"/>
                  <a:pt x="789519" y="639228"/>
                  <a:pt x="790641" y="638773"/>
                </a:cubicBezTo>
                <a:lnTo>
                  <a:pt x="847764" y="622386"/>
                </a:lnTo>
                <a:cubicBezTo>
                  <a:pt x="848951" y="621928"/>
                  <a:pt x="850502" y="621988"/>
                  <a:pt x="851787" y="622268"/>
                </a:cubicBezTo>
                <a:close/>
                <a:moveTo>
                  <a:pt x="790947" y="510426"/>
                </a:moveTo>
                <a:lnTo>
                  <a:pt x="798959" y="510426"/>
                </a:lnTo>
                <a:cubicBezTo>
                  <a:pt x="809967" y="510473"/>
                  <a:pt x="820978" y="510351"/>
                  <a:pt x="831973" y="510776"/>
                </a:cubicBezTo>
                <a:cubicBezTo>
                  <a:pt x="841534" y="511145"/>
                  <a:pt x="850968" y="512644"/>
                  <a:pt x="859857" y="516527"/>
                </a:cubicBezTo>
                <a:cubicBezTo>
                  <a:pt x="870572" y="521210"/>
                  <a:pt x="878033" y="530637"/>
                  <a:pt x="880607" y="542333"/>
                </a:cubicBezTo>
                <a:cubicBezTo>
                  <a:pt x="883171" y="553994"/>
                  <a:pt x="880779" y="564725"/>
                  <a:pt x="874177" y="574580"/>
                </a:cubicBezTo>
                <a:cubicBezTo>
                  <a:pt x="858370" y="598188"/>
                  <a:pt x="832135" y="605693"/>
                  <a:pt x="806873" y="616032"/>
                </a:cubicBezTo>
                <a:cubicBezTo>
                  <a:pt x="801872" y="618079"/>
                  <a:pt x="796796" y="619938"/>
                  <a:pt x="791537" y="621918"/>
                </a:cubicBezTo>
                <a:cubicBezTo>
                  <a:pt x="790229" y="622413"/>
                  <a:pt x="788821" y="621457"/>
                  <a:pt x="788817" y="620056"/>
                </a:cubicBezTo>
                <a:cubicBezTo>
                  <a:pt x="788807" y="607736"/>
                  <a:pt x="788785" y="563981"/>
                  <a:pt x="788940" y="538418"/>
                </a:cubicBezTo>
                <a:lnTo>
                  <a:pt x="788942" y="538421"/>
                </a:lnTo>
                <a:lnTo>
                  <a:pt x="788942" y="512430"/>
                </a:lnTo>
                <a:cubicBezTo>
                  <a:pt x="788942" y="511323"/>
                  <a:pt x="789840" y="510426"/>
                  <a:pt x="790947" y="510426"/>
                </a:cubicBezTo>
                <a:close/>
                <a:moveTo>
                  <a:pt x="727176" y="494837"/>
                </a:moveTo>
                <a:cubicBezTo>
                  <a:pt x="725610" y="494837"/>
                  <a:pt x="724651" y="496551"/>
                  <a:pt x="725465" y="497886"/>
                </a:cubicBezTo>
                <a:lnTo>
                  <a:pt x="736711" y="516333"/>
                </a:lnTo>
                <a:cubicBezTo>
                  <a:pt x="737534" y="517657"/>
                  <a:pt x="737972" y="519183"/>
                  <a:pt x="737970" y="520742"/>
                </a:cubicBezTo>
                <a:lnTo>
                  <a:pt x="737970" y="520667"/>
                </a:lnTo>
                <a:cubicBezTo>
                  <a:pt x="738003" y="593010"/>
                  <a:pt x="738003" y="690495"/>
                  <a:pt x="737970" y="763525"/>
                </a:cubicBezTo>
                <a:cubicBezTo>
                  <a:pt x="737970" y="765189"/>
                  <a:pt x="739321" y="766520"/>
                  <a:pt x="740984" y="766514"/>
                </a:cubicBezTo>
                <a:lnTo>
                  <a:pt x="850684" y="766514"/>
                </a:lnTo>
                <a:cubicBezTo>
                  <a:pt x="862258" y="766471"/>
                  <a:pt x="873685" y="764691"/>
                  <a:pt x="884846" y="761544"/>
                </a:cubicBezTo>
                <a:cubicBezTo>
                  <a:pt x="900550" y="757117"/>
                  <a:pt x="914548" y="749613"/>
                  <a:pt x="925849" y="737695"/>
                </a:cubicBezTo>
                <a:cubicBezTo>
                  <a:pt x="938525" y="724327"/>
                  <a:pt x="945786" y="708362"/>
                  <a:pt x="947658" y="689922"/>
                </a:cubicBezTo>
                <a:cubicBezTo>
                  <a:pt x="949266" y="674046"/>
                  <a:pt x="946419" y="658071"/>
                  <a:pt x="938934" y="643977"/>
                </a:cubicBezTo>
                <a:lnTo>
                  <a:pt x="938937" y="643974"/>
                </a:lnTo>
                <a:cubicBezTo>
                  <a:pt x="929201" y="625636"/>
                  <a:pt x="914004" y="613857"/>
                  <a:pt x="893188" y="609239"/>
                </a:cubicBezTo>
                <a:cubicBezTo>
                  <a:pt x="888800" y="608267"/>
                  <a:pt x="884285" y="607862"/>
                  <a:pt x="879862" y="607328"/>
                </a:cubicBezTo>
                <a:cubicBezTo>
                  <a:pt x="879154" y="607242"/>
                  <a:pt x="878983" y="606293"/>
                  <a:pt x="879615" y="605966"/>
                </a:cubicBezTo>
                <a:cubicBezTo>
                  <a:pt x="885749" y="602826"/>
                  <a:pt x="903576" y="593297"/>
                  <a:pt x="911160" y="585634"/>
                </a:cubicBezTo>
                <a:cubicBezTo>
                  <a:pt x="922738" y="573934"/>
                  <a:pt x="930500" y="560332"/>
                  <a:pt x="930810" y="543378"/>
                </a:cubicBezTo>
                <a:cubicBezTo>
                  <a:pt x="931063" y="529499"/>
                  <a:pt x="925872" y="518099"/>
                  <a:pt x="914761" y="509606"/>
                </a:cubicBezTo>
                <a:cubicBezTo>
                  <a:pt x="907131" y="503772"/>
                  <a:pt x="898365" y="500397"/>
                  <a:pt x="889088" y="498265"/>
                </a:cubicBezTo>
                <a:cubicBezTo>
                  <a:pt x="878030" y="495720"/>
                  <a:pt x="866767" y="494873"/>
                  <a:pt x="855459" y="494857"/>
                </a:cubicBezTo>
                <a:lnTo>
                  <a:pt x="737970" y="494837"/>
                </a:lnTo>
                <a:close/>
                <a:moveTo>
                  <a:pt x="643630" y="494827"/>
                </a:moveTo>
                <a:cubicBezTo>
                  <a:pt x="642071" y="494827"/>
                  <a:pt x="641109" y="496528"/>
                  <a:pt x="641910" y="497862"/>
                </a:cubicBezTo>
                <a:lnTo>
                  <a:pt x="653396" y="517034"/>
                </a:lnTo>
                <a:cubicBezTo>
                  <a:pt x="653956" y="517984"/>
                  <a:pt x="654253" y="519065"/>
                  <a:pt x="654256" y="520169"/>
                </a:cubicBezTo>
                <a:cubicBezTo>
                  <a:pt x="654279" y="534982"/>
                  <a:pt x="654288" y="553033"/>
                  <a:pt x="654292" y="571083"/>
                </a:cubicBezTo>
                <a:lnTo>
                  <a:pt x="654295" y="620214"/>
                </a:lnTo>
                <a:lnTo>
                  <a:pt x="651580" y="621908"/>
                </a:lnTo>
                <a:lnTo>
                  <a:pt x="606908" y="606246"/>
                </a:lnTo>
                <a:cubicBezTo>
                  <a:pt x="606206" y="605970"/>
                  <a:pt x="605425" y="605970"/>
                  <a:pt x="604719" y="606243"/>
                </a:cubicBezTo>
                <a:lnTo>
                  <a:pt x="559494" y="621955"/>
                </a:lnTo>
                <a:cubicBezTo>
                  <a:pt x="558179" y="622465"/>
                  <a:pt x="556715" y="623362"/>
                  <a:pt x="556715" y="621955"/>
                </a:cubicBezTo>
                <a:lnTo>
                  <a:pt x="556712" y="620185"/>
                </a:lnTo>
                <a:lnTo>
                  <a:pt x="556712" y="497846"/>
                </a:lnTo>
                <a:cubicBezTo>
                  <a:pt x="556712" y="496185"/>
                  <a:pt x="555364" y="494837"/>
                  <a:pt x="553703" y="494837"/>
                </a:cubicBezTo>
                <a:lnTo>
                  <a:pt x="495212" y="494837"/>
                </a:lnTo>
                <a:cubicBezTo>
                  <a:pt x="493649" y="494837"/>
                  <a:pt x="492687" y="496551"/>
                  <a:pt x="493501" y="497886"/>
                </a:cubicBezTo>
                <a:lnTo>
                  <a:pt x="504750" y="516412"/>
                </a:lnTo>
                <a:cubicBezTo>
                  <a:pt x="505574" y="517736"/>
                  <a:pt x="506012" y="519262"/>
                  <a:pt x="506009" y="520821"/>
                </a:cubicBezTo>
                <a:cubicBezTo>
                  <a:pt x="505982" y="594082"/>
                  <a:pt x="505982" y="667342"/>
                  <a:pt x="506012" y="740605"/>
                </a:cubicBezTo>
                <a:cubicBezTo>
                  <a:pt x="506012" y="742088"/>
                  <a:pt x="505597" y="743538"/>
                  <a:pt x="504816" y="744797"/>
                </a:cubicBezTo>
                <a:lnTo>
                  <a:pt x="493478" y="763465"/>
                </a:lnTo>
                <a:cubicBezTo>
                  <a:pt x="492667" y="764803"/>
                  <a:pt x="493630" y="766514"/>
                  <a:pt x="495192" y="766514"/>
                </a:cubicBezTo>
                <a:lnTo>
                  <a:pt x="567499" y="766514"/>
                </a:lnTo>
                <a:cubicBezTo>
                  <a:pt x="569058" y="766514"/>
                  <a:pt x="570021" y="764813"/>
                  <a:pt x="569220" y="763475"/>
                </a:cubicBezTo>
                <a:lnTo>
                  <a:pt x="557800" y="744441"/>
                </a:lnTo>
                <a:cubicBezTo>
                  <a:pt x="557164" y="743364"/>
                  <a:pt x="556827" y="742118"/>
                  <a:pt x="556824" y="740865"/>
                </a:cubicBezTo>
                <a:cubicBezTo>
                  <a:pt x="556778" y="705587"/>
                  <a:pt x="556781" y="700086"/>
                  <a:pt x="556785" y="667328"/>
                </a:cubicBezTo>
                <a:lnTo>
                  <a:pt x="556771" y="659699"/>
                </a:lnTo>
                <a:lnTo>
                  <a:pt x="556765" y="654475"/>
                </a:lnTo>
                <a:cubicBezTo>
                  <a:pt x="556785" y="653466"/>
                  <a:pt x="557351" y="652530"/>
                  <a:pt x="558202" y="651986"/>
                </a:cubicBezTo>
                <a:cubicBezTo>
                  <a:pt x="564695" y="647847"/>
                  <a:pt x="592301" y="630244"/>
                  <a:pt x="604713" y="622393"/>
                </a:cubicBezTo>
                <a:cubicBezTo>
                  <a:pt x="605352" y="621991"/>
                  <a:pt x="606163" y="621991"/>
                  <a:pt x="606799" y="622399"/>
                </a:cubicBezTo>
                <a:lnTo>
                  <a:pt x="652987" y="652023"/>
                </a:lnTo>
                <a:cubicBezTo>
                  <a:pt x="653788" y="652537"/>
                  <a:pt x="654276" y="653397"/>
                  <a:pt x="654345" y="654336"/>
                </a:cubicBezTo>
                <a:lnTo>
                  <a:pt x="654351" y="658509"/>
                </a:lnTo>
                <a:lnTo>
                  <a:pt x="654365" y="667065"/>
                </a:lnTo>
                <a:lnTo>
                  <a:pt x="654365" y="763495"/>
                </a:lnTo>
                <a:cubicBezTo>
                  <a:pt x="654365" y="765156"/>
                  <a:pt x="655713" y="766504"/>
                  <a:pt x="657374" y="766504"/>
                </a:cubicBezTo>
                <a:lnTo>
                  <a:pt x="716218" y="766504"/>
                </a:lnTo>
                <a:cubicBezTo>
                  <a:pt x="717777" y="766504"/>
                  <a:pt x="718739" y="764803"/>
                  <a:pt x="717938" y="763468"/>
                </a:cubicBezTo>
                <a:lnTo>
                  <a:pt x="706696" y="744702"/>
                </a:lnTo>
                <a:cubicBezTo>
                  <a:pt x="706020" y="743552"/>
                  <a:pt x="705664" y="742240"/>
                  <a:pt x="705664" y="740905"/>
                </a:cubicBezTo>
                <a:lnTo>
                  <a:pt x="705618" y="497836"/>
                </a:lnTo>
                <a:cubicBezTo>
                  <a:pt x="705618" y="496175"/>
                  <a:pt x="704270" y="494827"/>
                  <a:pt x="702609" y="494827"/>
                </a:cubicBezTo>
                <a:close/>
                <a:moveTo>
                  <a:pt x="957183" y="494827"/>
                </a:moveTo>
                <a:cubicBezTo>
                  <a:pt x="955617" y="494827"/>
                  <a:pt x="954658" y="496541"/>
                  <a:pt x="955472" y="497876"/>
                </a:cubicBezTo>
                <a:lnTo>
                  <a:pt x="966718" y="516405"/>
                </a:lnTo>
                <a:cubicBezTo>
                  <a:pt x="967542" y="517730"/>
                  <a:pt x="967980" y="519256"/>
                  <a:pt x="967977" y="520815"/>
                </a:cubicBezTo>
                <a:lnTo>
                  <a:pt x="967977" y="578087"/>
                </a:lnTo>
                <a:cubicBezTo>
                  <a:pt x="967977" y="578087"/>
                  <a:pt x="967960" y="578087"/>
                  <a:pt x="967960" y="578087"/>
                </a:cubicBezTo>
                <a:lnTo>
                  <a:pt x="967960" y="740608"/>
                </a:lnTo>
                <a:cubicBezTo>
                  <a:pt x="967960" y="742167"/>
                  <a:pt x="967522" y="743693"/>
                  <a:pt x="966701" y="745018"/>
                </a:cubicBezTo>
                <a:lnTo>
                  <a:pt x="955456" y="763465"/>
                </a:lnTo>
                <a:cubicBezTo>
                  <a:pt x="954642" y="764800"/>
                  <a:pt x="955604" y="766514"/>
                  <a:pt x="957166" y="766514"/>
                </a:cubicBezTo>
                <a:lnTo>
                  <a:pt x="1029563" y="766514"/>
                </a:lnTo>
                <a:cubicBezTo>
                  <a:pt x="1031128" y="766514"/>
                  <a:pt x="1032088" y="764800"/>
                  <a:pt x="1031273" y="763465"/>
                </a:cubicBezTo>
                <a:lnTo>
                  <a:pt x="1020028" y="745018"/>
                </a:lnTo>
                <a:cubicBezTo>
                  <a:pt x="1019230" y="743733"/>
                  <a:pt x="1018802" y="742256"/>
                  <a:pt x="1018779" y="740744"/>
                </a:cubicBezTo>
                <a:cubicBezTo>
                  <a:pt x="1018759" y="698445"/>
                  <a:pt x="1018759" y="637106"/>
                  <a:pt x="1018759" y="625020"/>
                </a:cubicBezTo>
                <a:cubicBezTo>
                  <a:pt x="1018759" y="623362"/>
                  <a:pt x="1020120" y="622050"/>
                  <a:pt x="1021778" y="622050"/>
                </a:cubicBezTo>
                <a:cubicBezTo>
                  <a:pt x="1037377" y="622050"/>
                  <a:pt x="1050439" y="625395"/>
                  <a:pt x="1062063" y="630626"/>
                </a:cubicBezTo>
                <a:cubicBezTo>
                  <a:pt x="1072992" y="635543"/>
                  <a:pt x="1083213" y="641357"/>
                  <a:pt x="1089874" y="652112"/>
                </a:cubicBezTo>
                <a:cubicBezTo>
                  <a:pt x="1090029" y="652362"/>
                  <a:pt x="1090263" y="652556"/>
                  <a:pt x="1090460" y="652784"/>
                </a:cubicBezTo>
                <a:cubicBezTo>
                  <a:pt x="1091676" y="654168"/>
                  <a:pt x="1093960" y="653301"/>
                  <a:pt x="1093960" y="651459"/>
                </a:cubicBezTo>
                <a:lnTo>
                  <a:pt x="1093960" y="609470"/>
                </a:lnTo>
                <a:cubicBezTo>
                  <a:pt x="1093960" y="607809"/>
                  <a:pt x="1092616" y="606464"/>
                  <a:pt x="1090955" y="606464"/>
                </a:cubicBezTo>
                <a:lnTo>
                  <a:pt x="1082507" y="606464"/>
                </a:lnTo>
                <a:lnTo>
                  <a:pt x="1082507" y="606461"/>
                </a:lnTo>
                <a:lnTo>
                  <a:pt x="1020839" y="606461"/>
                </a:lnTo>
                <a:cubicBezTo>
                  <a:pt x="1019731" y="606461"/>
                  <a:pt x="1018835" y="605564"/>
                  <a:pt x="1018835" y="604457"/>
                </a:cubicBezTo>
                <a:lnTo>
                  <a:pt x="1018835" y="512582"/>
                </a:lnTo>
                <a:cubicBezTo>
                  <a:pt x="1018835" y="511481"/>
                  <a:pt x="1019715" y="510588"/>
                  <a:pt x="1020816" y="510578"/>
                </a:cubicBezTo>
                <a:cubicBezTo>
                  <a:pt x="1027104" y="510525"/>
                  <a:pt x="1046207" y="510423"/>
                  <a:pt x="1046441" y="510430"/>
                </a:cubicBezTo>
                <a:cubicBezTo>
                  <a:pt x="1058787" y="510647"/>
                  <a:pt x="1071104" y="511323"/>
                  <a:pt x="1083302" y="513396"/>
                </a:cubicBezTo>
                <a:cubicBezTo>
                  <a:pt x="1096149" y="515578"/>
                  <a:pt x="1108357" y="521415"/>
                  <a:pt x="1119658" y="527983"/>
                </a:cubicBezTo>
                <a:cubicBezTo>
                  <a:pt x="1130175" y="534094"/>
                  <a:pt x="1139143" y="539763"/>
                  <a:pt x="1147482" y="548526"/>
                </a:cubicBezTo>
                <a:cubicBezTo>
                  <a:pt x="1147950" y="549014"/>
                  <a:pt x="1148414" y="549508"/>
                  <a:pt x="1148886" y="550009"/>
                </a:cubicBezTo>
                <a:cubicBezTo>
                  <a:pt x="1150132" y="551334"/>
                  <a:pt x="1152353" y="550458"/>
                  <a:pt x="1152353" y="548642"/>
                </a:cubicBezTo>
                <a:lnTo>
                  <a:pt x="1152353" y="497843"/>
                </a:lnTo>
                <a:cubicBezTo>
                  <a:pt x="1152353" y="496182"/>
                  <a:pt x="1151008" y="494837"/>
                  <a:pt x="1149347" y="494837"/>
                </a:cubicBezTo>
                <a:close/>
                <a:moveTo>
                  <a:pt x="9334256" y="242472"/>
                </a:moveTo>
                <a:cubicBezTo>
                  <a:pt x="9314851" y="242420"/>
                  <a:pt x="9295447" y="247770"/>
                  <a:pt x="9278452" y="258471"/>
                </a:cubicBezTo>
                <a:cubicBezTo>
                  <a:pt x="8614258" y="678891"/>
                  <a:pt x="7135654" y="1621687"/>
                  <a:pt x="6787817" y="1843233"/>
                </a:cubicBezTo>
                <a:cubicBezTo>
                  <a:pt x="6742086" y="1872181"/>
                  <a:pt x="6711876" y="1922108"/>
                  <a:pt x="6711037" y="1976237"/>
                </a:cubicBezTo>
                <a:lnTo>
                  <a:pt x="6711037" y="2256094"/>
                </a:lnTo>
                <a:lnTo>
                  <a:pt x="6711876" y="2664766"/>
                </a:lnTo>
                <a:cubicBezTo>
                  <a:pt x="6711876" y="4367434"/>
                  <a:pt x="6711876" y="4694701"/>
                  <a:pt x="6713971" y="6440582"/>
                </a:cubicBezTo>
                <a:cubicBezTo>
                  <a:pt x="6713971" y="6529117"/>
                  <a:pt x="6786978" y="6602124"/>
                  <a:pt x="6875513" y="6602124"/>
                </a:cubicBezTo>
                <a:lnTo>
                  <a:pt x="11179155" y="6602124"/>
                </a:lnTo>
                <a:lnTo>
                  <a:pt x="11179155" y="6602540"/>
                </a:lnTo>
                <a:lnTo>
                  <a:pt x="11775800" y="6602540"/>
                </a:lnTo>
                <a:cubicBezTo>
                  <a:pt x="11864751" y="6602540"/>
                  <a:pt x="11936919" y="6530372"/>
                  <a:pt x="11936919" y="6441421"/>
                </a:cubicBezTo>
                <a:lnTo>
                  <a:pt x="11936919" y="2650507"/>
                </a:lnTo>
                <a:cubicBezTo>
                  <a:pt x="11936919" y="2650507"/>
                  <a:pt x="11936087" y="2192318"/>
                  <a:pt x="11936087" y="2192318"/>
                </a:cubicBezTo>
                <a:lnTo>
                  <a:pt x="11936087" y="1969107"/>
                </a:lnTo>
                <a:cubicBezTo>
                  <a:pt x="11932307" y="1919174"/>
                  <a:pt x="11906293" y="1872597"/>
                  <a:pt x="11863495" y="1845328"/>
                </a:cubicBezTo>
                <a:lnTo>
                  <a:pt x="9390061" y="258894"/>
                </a:lnTo>
                <a:cubicBezTo>
                  <a:pt x="9373066" y="247982"/>
                  <a:pt x="9353661" y="242525"/>
                  <a:pt x="9334256" y="242472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Content Placeholder 19">
            <a:extLst>
              <a:ext uri="{FF2B5EF4-FFF2-40B4-BE49-F238E27FC236}">
                <a16:creationId xmlns:a16="http://schemas.microsoft.com/office/drawing/2014/main" id="{DB8CC4C8-3B72-4BEB-8B27-6BDD97BBD8F1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073459" y="3366448"/>
            <a:ext cx="4540469" cy="290633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/>
            </a:lvl1pPr>
            <a:lvl2pPr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0CA795-1E23-C08F-05C7-56648C289D06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073459" y="2913375"/>
            <a:ext cx="4540469" cy="345112"/>
          </a:xfrm>
        </p:spPr>
        <p:txBody>
          <a:bodyPr numCol="1">
            <a:noAutofit/>
          </a:bodyPr>
          <a:lstStyle>
            <a:lvl1pPr marL="0" indent="0">
              <a:buNone/>
              <a:defRPr sz="2400" b="0" i="0">
                <a:latin typeface="Helvetica" pitchFamily="2" charset="0"/>
                <a:ea typeface="Bagoss Standard" panose="020B0504060102020204" pitchFamily="34" charset="77"/>
                <a:cs typeface="Bagoss Standard" panose="020B0504060102020204" pitchFamily="34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74FFD0D-5E9B-DFDD-88FF-738094E68C3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73459" y="2402355"/>
            <a:ext cx="4540470" cy="541204"/>
          </a:xfrm>
        </p:spPr>
        <p:txBody>
          <a:bodyPr anchor="t">
            <a:noAutofit/>
          </a:bodyPr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373570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-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>
            <a:extLst>
              <a:ext uri="{FF2B5EF4-FFF2-40B4-BE49-F238E27FC236}">
                <a16:creationId xmlns:a16="http://schemas.microsoft.com/office/drawing/2014/main" id="{FE1ABC8E-BB98-C919-E6BC-AA7B39186957}"/>
              </a:ext>
            </a:extLst>
          </p:cNvPr>
          <p:cNvSpPr/>
          <p:nvPr userDrawn="1"/>
        </p:nvSpPr>
        <p:spPr>
          <a:xfrm>
            <a:off x="-1" y="-1"/>
            <a:ext cx="12192000" cy="6858000"/>
          </a:xfrm>
          <a:custGeom>
            <a:avLst/>
            <a:gdLst>
              <a:gd name="connsiteX0" fmla="*/ 245165 w 12192000"/>
              <a:gd name="connsiteY0" fmla="*/ 242472 h 6858000"/>
              <a:gd name="connsiteX1" fmla="*/ 245165 w 12192000"/>
              <a:gd name="connsiteY1" fmla="*/ 6615528 h 6858000"/>
              <a:gd name="connsiteX2" fmla="*/ 11470341 w 12192000"/>
              <a:gd name="connsiteY2" fmla="*/ 6615528 h 6858000"/>
              <a:gd name="connsiteX3" fmla="*/ 11470341 w 12192000"/>
              <a:gd name="connsiteY3" fmla="*/ 6212541 h 6858000"/>
              <a:gd name="connsiteX4" fmla="*/ 11936921 w 12192000"/>
              <a:gd name="connsiteY4" fmla="*/ 6212541 h 6858000"/>
              <a:gd name="connsiteX5" fmla="*/ 11936921 w 12192000"/>
              <a:gd name="connsiteY5" fmla="*/ 242472 h 6858000"/>
              <a:gd name="connsiteX6" fmla="*/ 0 w 12192000"/>
              <a:gd name="connsiteY6" fmla="*/ 0 h 6858000"/>
              <a:gd name="connsiteX7" fmla="*/ 12192000 w 12192000"/>
              <a:gd name="connsiteY7" fmla="*/ 0 h 6858000"/>
              <a:gd name="connsiteX8" fmla="*/ 12192000 w 12192000"/>
              <a:gd name="connsiteY8" fmla="*/ 6212541 h 6858000"/>
              <a:gd name="connsiteX9" fmla="*/ 12192000 w 12192000"/>
              <a:gd name="connsiteY9" fmla="*/ 6858000 h 6858000"/>
              <a:gd name="connsiteX10" fmla="*/ 11470341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245165" y="242472"/>
                </a:moveTo>
                <a:lnTo>
                  <a:pt x="245165" y="6615528"/>
                </a:lnTo>
                <a:lnTo>
                  <a:pt x="11470341" y="6615528"/>
                </a:lnTo>
                <a:lnTo>
                  <a:pt x="11470341" y="6212541"/>
                </a:lnTo>
                <a:lnTo>
                  <a:pt x="11936921" y="6212541"/>
                </a:lnTo>
                <a:lnTo>
                  <a:pt x="11936921" y="24247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212541"/>
                </a:lnTo>
                <a:lnTo>
                  <a:pt x="12192000" y="6858000"/>
                </a:lnTo>
                <a:lnTo>
                  <a:pt x="1147034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97317161-2CD7-7DFA-011F-A55C360C705F}"/>
              </a:ext>
            </a:extLst>
          </p:cNvPr>
          <p:cNvSpPr/>
          <p:nvPr userDrawn="1"/>
        </p:nvSpPr>
        <p:spPr>
          <a:xfrm>
            <a:off x="8917401" y="2940388"/>
            <a:ext cx="3019519" cy="3674852"/>
          </a:xfrm>
          <a:custGeom>
            <a:avLst/>
            <a:gdLst>
              <a:gd name="connsiteX0" fmla="*/ 676211 w 790892"/>
              <a:gd name="connsiteY0" fmla="*/ 962478 h 962541"/>
              <a:gd name="connsiteX1" fmla="*/ 24892 w 790892"/>
              <a:gd name="connsiteY1" fmla="*/ 962478 h 962541"/>
              <a:gd name="connsiteX2" fmla="*/ 444 w 790892"/>
              <a:gd name="connsiteY2" fmla="*/ 938030 h 962541"/>
              <a:gd name="connsiteX3" fmla="*/ 127 w 790892"/>
              <a:gd name="connsiteY3" fmla="*/ 366593 h 962541"/>
              <a:gd name="connsiteX4" fmla="*/ 0 w 790892"/>
              <a:gd name="connsiteY4" fmla="*/ 304744 h 962541"/>
              <a:gd name="connsiteX5" fmla="*/ 0 w 790892"/>
              <a:gd name="connsiteY5" fmla="*/ 262390 h 962541"/>
              <a:gd name="connsiteX6" fmla="*/ 11620 w 790892"/>
              <a:gd name="connsiteY6" fmla="*/ 242261 h 962541"/>
              <a:gd name="connsiteX7" fmla="*/ 388556 w 790892"/>
              <a:gd name="connsiteY7" fmla="*/ 2421 h 962541"/>
              <a:gd name="connsiteX8" fmla="*/ 405447 w 790892"/>
              <a:gd name="connsiteY8" fmla="*/ 2485 h 962541"/>
              <a:gd name="connsiteX9" fmla="*/ 779780 w 790892"/>
              <a:gd name="connsiteY9" fmla="*/ 242578 h 962541"/>
              <a:gd name="connsiteX10" fmla="*/ 790766 w 790892"/>
              <a:gd name="connsiteY10" fmla="*/ 261311 h 962541"/>
              <a:gd name="connsiteX11" fmla="*/ 790766 w 790892"/>
              <a:gd name="connsiteY11" fmla="*/ 295092 h 962541"/>
              <a:gd name="connsiteX12" fmla="*/ 790892 w 790892"/>
              <a:gd name="connsiteY12" fmla="*/ 364435 h 962541"/>
              <a:gd name="connsiteX13" fmla="*/ 790892 w 790892"/>
              <a:gd name="connsiteY13" fmla="*/ 938157 h 962541"/>
              <a:gd name="connsiteX14" fmla="*/ 766508 w 790892"/>
              <a:gd name="connsiteY14" fmla="*/ 962541 h 962541"/>
              <a:gd name="connsiteX15" fmla="*/ 676211 w 790892"/>
              <a:gd name="connsiteY15" fmla="*/ 962541 h 96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90892" h="962541">
                <a:moveTo>
                  <a:pt x="676211" y="962478"/>
                </a:moveTo>
                <a:lnTo>
                  <a:pt x="24892" y="962478"/>
                </a:lnTo>
                <a:cubicBezTo>
                  <a:pt x="11493" y="962478"/>
                  <a:pt x="444" y="951429"/>
                  <a:pt x="444" y="938030"/>
                </a:cubicBezTo>
                <a:cubicBezTo>
                  <a:pt x="127" y="673806"/>
                  <a:pt x="127" y="624277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8"/>
                  <a:pt x="4699" y="246642"/>
                  <a:pt x="11620" y="242261"/>
                </a:cubicBezTo>
                <a:cubicBezTo>
                  <a:pt x="64262" y="208732"/>
                  <a:pt x="288036" y="66048"/>
                  <a:pt x="388556" y="2421"/>
                </a:cubicBezTo>
                <a:cubicBezTo>
                  <a:pt x="393700" y="-818"/>
                  <a:pt x="400303" y="-818"/>
                  <a:pt x="405447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2"/>
                </a:lnTo>
                <a:cubicBezTo>
                  <a:pt x="790766" y="295092"/>
                  <a:pt x="790892" y="364435"/>
                  <a:pt x="790892" y="364435"/>
                </a:cubicBezTo>
                <a:lnTo>
                  <a:pt x="790892" y="938157"/>
                </a:lnTo>
                <a:cubicBezTo>
                  <a:pt x="790892" y="951619"/>
                  <a:pt x="779970" y="962541"/>
                  <a:pt x="766508" y="962541"/>
                </a:cubicBezTo>
                <a:lnTo>
                  <a:pt x="676211" y="962541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98D7026A-5658-F334-AF9D-441CE29AE5A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897995" y="1581309"/>
            <a:ext cx="1984906" cy="50681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1D8510D-B258-C6BE-43B9-36346902CEAC}"/>
              </a:ext>
            </a:extLst>
          </p:cNvPr>
          <p:cNvSpPr txBox="1"/>
          <p:nvPr userDrawn="1"/>
        </p:nvSpPr>
        <p:spPr>
          <a:xfrm>
            <a:off x="897993" y="2632637"/>
            <a:ext cx="5943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i="0">
                <a:solidFill>
                  <a:schemeClr val="tx1"/>
                </a:solidFill>
                <a:latin typeface="Helvetica" pitchFamily="2" charset="0"/>
                <a:ea typeface="Bagoss Condensed SemiBold" panose="020B0806060102020204" pitchFamily="34" charset="77"/>
                <a:cs typeface="Bagoss Condensed SemiBold" panose="020B0806060102020204" pitchFamily="34" charset="77"/>
              </a:rPr>
              <a:t>The voice of the home building industry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C3D4ACE-9872-256F-3FE6-81B36D83CC87}"/>
              </a:ext>
            </a:extLst>
          </p:cNvPr>
          <p:cNvSpPr txBox="1"/>
          <p:nvPr userDrawn="1"/>
        </p:nvSpPr>
        <p:spPr>
          <a:xfrm>
            <a:off x="897993" y="4422214"/>
            <a:ext cx="5943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0" i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ww.hbf.co.uk</a:t>
            </a:r>
            <a:r>
              <a:rPr lang="en-GB" sz="2000" b="0" i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| 0207 960 1600 | @</a:t>
            </a:r>
            <a:r>
              <a:rPr lang="en-GB" sz="2000" b="0" i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omebuildersfed</a:t>
            </a:r>
            <a:endParaRPr lang="en-GB" sz="2000" b="0" i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119903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Image-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26926471-0C29-A746-6CA0-5327A71104F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5165" y="255460"/>
            <a:ext cx="5225882" cy="6360069"/>
          </a:xfrm>
          <a:custGeom>
            <a:avLst/>
            <a:gdLst>
              <a:gd name="connsiteX0" fmla="*/ 606623 w 5225882"/>
              <a:gd name="connsiteY0" fmla="*/ 366808 h 6360069"/>
              <a:gd name="connsiteX1" fmla="*/ 634460 w 5225882"/>
              <a:gd name="connsiteY1" fmla="*/ 382423 h 6360069"/>
              <a:gd name="connsiteX2" fmla="*/ 648112 w 5225882"/>
              <a:gd name="connsiteY2" fmla="*/ 412495 h 6360069"/>
              <a:gd name="connsiteX3" fmla="*/ 646421 w 5225882"/>
              <a:gd name="connsiteY3" fmla="*/ 444333 h 6360069"/>
              <a:gd name="connsiteX4" fmla="*/ 646418 w 5225882"/>
              <a:gd name="connsiteY4" fmla="*/ 444333 h 6360069"/>
              <a:gd name="connsiteX5" fmla="*/ 622196 w 5225882"/>
              <a:gd name="connsiteY5" fmla="*/ 482654 h 6360069"/>
              <a:gd name="connsiteX6" fmla="*/ 593084 w 5225882"/>
              <a:gd name="connsiteY6" fmla="*/ 492419 h 6360069"/>
              <a:gd name="connsiteX7" fmla="*/ 545654 w 5225882"/>
              <a:gd name="connsiteY7" fmla="*/ 492383 h 6360069"/>
              <a:gd name="connsiteX8" fmla="*/ 543663 w 5225882"/>
              <a:gd name="connsiteY8" fmla="*/ 490392 h 6360069"/>
              <a:gd name="connsiteX9" fmla="*/ 543627 w 5225882"/>
              <a:gd name="connsiteY9" fmla="*/ 386052 h 6360069"/>
              <a:gd name="connsiteX10" fmla="*/ 545476 w 5225882"/>
              <a:gd name="connsiteY10" fmla="*/ 383313 h 6360069"/>
              <a:gd name="connsiteX11" fmla="*/ 602599 w 5225882"/>
              <a:gd name="connsiteY11" fmla="*/ 366926 h 6360069"/>
              <a:gd name="connsiteX12" fmla="*/ 606623 w 5225882"/>
              <a:gd name="connsiteY12" fmla="*/ 366808 h 6360069"/>
              <a:gd name="connsiteX13" fmla="*/ 409130 w 5225882"/>
              <a:gd name="connsiteY13" fmla="*/ 364754 h 6360069"/>
              <a:gd name="connsiteX14" fmla="*/ 409130 w 5225882"/>
              <a:gd name="connsiteY14" fmla="*/ 366537 h 6360069"/>
              <a:gd name="connsiteX15" fmla="*/ 409130 w 5225882"/>
              <a:gd name="connsiteY15" fmla="*/ 364754 h 6360069"/>
              <a:gd name="connsiteX16" fmla="*/ 545782 w 5225882"/>
              <a:gd name="connsiteY16" fmla="*/ 254966 h 6360069"/>
              <a:gd name="connsiteX17" fmla="*/ 553794 w 5225882"/>
              <a:gd name="connsiteY17" fmla="*/ 254966 h 6360069"/>
              <a:gd name="connsiteX18" fmla="*/ 586809 w 5225882"/>
              <a:gd name="connsiteY18" fmla="*/ 255316 h 6360069"/>
              <a:gd name="connsiteX19" fmla="*/ 614692 w 5225882"/>
              <a:gd name="connsiteY19" fmla="*/ 261067 h 6360069"/>
              <a:gd name="connsiteX20" fmla="*/ 635442 w 5225882"/>
              <a:gd name="connsiteY20" fmla="*/ 286873 h 6360069"/>
              <a:gd name="connsiteX21" fmla="*/ 629012 w 5225882"/>
              <a:gd name="connsiteY21" fmla="*/ 319120 h 6360069"/>
              <a:gd name="connsiteX22" fmla="*/ 561708 w 5225882"/>
              <a:gd name="connsiteY22" fmla="*/ 360572 h 6360069"/>
              <a:gd name="connsiteX23" fmla="*/ 546372 w 5225882"/>
              <a:gd name="connsiteY23" fmla="*/ 366458 h 6360069"/>
              <a:gd name="connsiteX24" fmla="*/ 543653 w 5225882"/>
              <a:gd name="connsiteY24" fmla="*/ 364596 h 6360069"/>
              <a:gd name="connsiteX25" fmla="*/ 543775 w 5225882"/>
              <a:gd name="connsiteY25" fmla="*/ 282958 h 6360069"/>
              <a:gd name="connsiteX26" fmla="*/ 543778 w 5225882"/>
              <a:gd name="connsiteY26" fmla="*/ 282961 h 6360069"/>
              <a:gd name="connsiteX27" fmla="*/ 543778 w 5225882"/>
              <a:gd name="connsiteY27" fmla="*/ 256970 h 6360069"/>
              <a:gd name="connsiteX28" fmla="*/ 545782 w 5225882"/>
              <a:gd name="connsiteY28" fmla="*/ 254966 h 6360069"/>
              <a:gd name="connsiteX29" fmla="*/ 482011 w 5225882"/>
              <a:gd name="connsiteY29" fmla="*/ 239377 h 6360069"/>
              <a:gd name="connsiteX30" fmla="*/ 480300 w 5225882"/>
              <a:gd name="connsiteY30" fmla="*/ 242426 h 6360069"/>
              <a:gd name="connsiteX31" fmla="*/ 491546 w 5225882"/>
              <a:gd name="connsiteY31" fmla="*/ 260873 h 6360069"/>
              <a:gd name="connsiteX32" fmla="*/ 492805 w 5225882"/>
              <a:gd name="connsiteY32" fmla="*/ 265282 h 6360069"/>
              <a:gd name="connsiteX33" fmla="*/ 492805 w 5225882"/>
              <a:gd name="connsiteY33" fmla="*/ 265207 h 6360069"/>
              <a:gd name="connsiteX34" fmla="*/ 492805 w 5225882"/>
              <a:gd name="connsiteY34" fmla="*/ 508065 h 6360069"/>
              <a:gd name="connsiteX35" fmla="*/ 495820 w 5225882"/>
              <a:gd name="connsiteY35" fmla="*/ 511054 h 6360069"/>
              <a:gd name="connsiteX36" fmla="*/ 605519 w 5225882"/>
              <a:gd name="connsiteY36" fmla="*/ 511054 h 6360069"/>
              <a:gd name="connsiteX37" fmla="*/ 639681 w 5225882"/>
              <a:gd name="connsiteY37" fmla="*/ 506084 h 6360069"/>
              <a:gd name="connsiteX38" fmla="*/ 680684 w 5225882"/>
              <a:gd name="connsiteY38" fmla="*/ 482235 h 6360069"/>
              <a:gd name="connsiteX39" fmla="*/ 702493 w 5225882"/>
              <a:gd name="connsiteY39" fmla="*/ 434462 h 6360069"/>
              <a:gd name="connsiteX40" fmla="*/ 693769 w 5225882"/>
              <a:gd name="connsiteY40" fmla="*/ 388517 h 6360069"/>
              <a:gd name="connsiteX41" fmla="*/ 693772 w 5225882"/>
              <a:gd name="connsiteY41" fmla="*/ 388514 h 6360069"/>
              <a:gd name="connsiteX42" fmla="*/ 648023 w 5225882"/>
              <a:gd name="connsiteY42" fmla="*/ 353779 h 6360069"/>
              <a:gd name="connsiteX43" fmla="*/ 634697 w 5225882"/>
              <a:gd name="connsiteY43" fmla="*/ 351868 h 6360069"/>
              <a:gd name="connsiteX44" fmla="*/ 634450 w 5225882"/>
              <a:gd name="connsiteY44" fmla="*/ 350506 h 6360069"/>
              <a:gd name="connsiteX45" fmla="*/ 665995 w 5225882"/>
              <a:gd name="connsiteY45" fmla="*/ 330174 h 6360069"/>
              <a:gd name="connsiteX46" fmla="*/ 685645 w 5225882"/>
              <a:gd name="connsiteY46" fmla="*/ 287918 h 6360069"/>
              <a:gd name="connsiteX47" fmla="*/ 669597 w 5225882"/>
              <a:gd name="connsiteY47" fmla="*/ 254146 h 6360069"/>
              <a:gd name="connsiteX48" fmla="*/ 643923 w 5225882"/>
              <a:gd name="connsiteY48" fmla="*/ 242805 h 6360069"/>
              <a:gd name="connsiteX49" fmla="*/ 610295 w 5225882"/>
              <a:gd name="connsiteY49" fmla="*/ 239397 h 6360069"/>
              <a:gd name="connsiteX50" fmla="*/ 492805 w 5225882"/>
              <a:gd name="connsiteY50" fmla="*/ 239377 h 6360069"/>
              <a:gd name="connsiteX51" fmla="*/ 398465 w 5225882"/>
              <a:gd name="connsiteY51" fmla="*/ 239367 h 6360069"/>
              <a:gd name="connsiteX52" fmla="*/ 396745 w 5225882"/>
              <a:gd name="connsiteY52" fmla="*/ 242402 h 6360069"/>
              <a:gd name="connsiteX53" fmla="*/ 408231 w 5225882"/>
              <a:gd name="connsiteY53" fmla="*/ 261574 h 6360069"/>
              <a:gd name="connsiteX54" fmla="*/ 409091 w 5225882"/>
              <a:gd name="connsiteY54" fmla="*/ 264709 h 6360069"/>
              <a:gd name="connsiteX55" fmla="*/ 409128 w 5225882"/>
              <a:gd name="connsiteY55" fmla="*/ 315623 h 6360069"/>
              <a:gd name="connsiteX56" fmla="*/ 409130 w 5225882"/>
              <a:gd name="connsiteY56" fmla="*/ 364754 h 6360069"/>
              <a:gd name="connsiteX57" fmla="*/ 406415 w 5225882"/>
              <a:gd name="connsiteY57" fmla="*/ 366448 h 6360069"/>
              <a:gd name="connsiteX58" fmla="*/ 361743 w 5225882"/>
              <a:gd name="connsiteY58" fmla="*/ 350786 h 6360069"/>
              <a:gd name="connsiteX59" fmla="*/ 359554 w 5225882"/>
              <a:gd name="connsiteY59" fmla="*/ 350783 h 6360069"/>
              <a:gd name="connsiteX60" fmla="*/ 314329 w 5225882"/>
              <a:gd name="connsiteY60" fmla="*/ 366495 h 6360069"/>
              <a:gd name="connsiteX61" fmla="*/ 311550 w 5225882"/>
              <a:gd name="connsiteY61" fmla="*/ 366495 h 6360069"/>
              <a:gd name="connsiteX62" fmla="*/ 311547 w 5225882"/>
              <a:gd name="connsiteY62" fmla="*/ 364725 h 6360069"/>
              <a:gd name="connsiteX63" fmla="*/ 311547 w 5225882"/>
              <a:gd name="connsiteY63" fmla="*/ 242386 h 6360069"/>
              <a:gd name="connsiteX64" fmla="*/ 308538 w 5225882"/>
              <a:gd name="connsiteY64" fmla="*/ 239377 h 6360069"/>
              <a:gd name="connsiteX65" fmla="*/ 250047 w 5225882"/>
              <a:gd name="connsiteY65" fmla="*/ 239377 h 6360069"/>
              <a:gd name="connsiteX66" fmla="*/ 248336 w 5225882"/>
              <a:gd name="connsiteY66" fmla="*/ 242426 h 6360069"/>
              <a:gd name="connsiteX67" fmla="*/ 259585 w 5225882"/>
              <a:gd name="connsiteY67" fmla="*/ 260952 h 6360069"/>
              <a:gd name="connsiteX68" fmla="*/ 260844 w 5225882"/>
              <a:gd name="connsiteY68" fmla="*/ 265361 h 6360069"/>
              <a:gd name="connsiteX69" fmla="*/ 260847 w 5225882"/>
              <a:gd name="connsiteY69" fmla="*/ 485145 h 6360069"/>
              <a:gd name="connsiteX70" fmla="*/ 259651 w 5225882"/>
              <a:gd name="connsiteY70" fmla="*/ 489337 h 6360069"/>
              <a:gd name="connsiteX71" fmla="*/ 248313 w 5225882"/>
              <a:gd name="connsiteY71" fmla="*/ 508005 h 6360069"/>
              <a:gd name="connsiteX72" fmla="*/ 250027 w 5225882"/>
              <a:gd name="connsiteY72" fmla="*/ 511054 h 6360069"/>
              <a:gd name="connsiteX73" fmla="*/ 322334 w 5225882"/>
              <a:gd name="connsiteY73" fmla="*/ 511054 h 6360069"/>
              <a:gd name="connsiteX74" fmla="*/ 324055 w 5225882"/>
              <a:gd name="connsiteY74" fmla="*/ 508015 h 6360069"/>
              <a:gd name="connsiteX75" fmla="*/ 312635 w 5225882"/>
              <a:gd name="connsiteY75" fmla="*/ 488981 h 6360069"/>
              <a:gd name="connsiteX76" fmla="*/ 311659 w 5225882"/>
              <a:gd name="connsiteY76" fmla="*/ 485405 h 6360069"/>
              <a:gd name="connsiteX77" fmla="*/ 311620 w 5225882"/>
              <a:gd name="connsiteY77" fmla="*/ 411868 h 6360069"/>
              <a:gd name="connsiteX78" fmla="*/ 311606 w 5225882"/>
              <a:gd name="connsiteY78" fmla="*/ 404239 h 6360069"/>
              <a:gd name="connsiteX79" fmla="*/ 311600 w 5225882"/>
              <a:gd name="connsiteY79" fmla="*/ 399015 h 6360069"/>
              <a:gd name="connsiteX80" fmla="*/ 313037 w 5225882"/>
              <a:gd name="connsiteY80" fmla="*/ 396526 h 6360069"/>
              <a:gd name="connsiteX81" fmla="*/ 359548 w 5225882"/>
              <a:gd name="connsiteY81" fmla="*/ 366933 h 6360069"/>
              <a:gd name="connsiteX82" fmla="*/ 361634 w 5225882"/>
              <a:gd name="connsiteY82" fmla="*/ 366939 h 6360069"/>
              <a:gd name="connsiteX83" fmla="*/ 407822 w 5225882"/>
              <a:gd name="connsiteY83" fmla="*/ 396563 h 6360069"/>
              <a:gd name="connsiteX84" fmla="*/ 409180 w 5225882"/>
              <a:gd name="connsiteY84" fmla="*/ 398876 h 6360069"/>
              <a:gd name="connsiteX85" fmla="*/ 409186 w 5225882"/>
              <a:gd name="connsiteY85" fmla="*/ 403049 h 6360069"/>
              <a:gd name="connsiteX86" fmla="*/ 409200 w 5225882"/>
              <a:gd name="connsiteY86" fmla="*/ 411605 h 6360069"/>
              <a:gd name="connsiteX87" fmla="*/ 409200 w 5225882"/>
              <a:gd name="connsiteY87" fmla="*/ 508035 h 6360069"/>
              <a:gd name="connsiteX88" fmla="*/ 412209 w 5225882"/>
              <a:gd name="connsiteY88" fmla="*/ 511044 h 6360069"/>
              <a:gd name="connsiteX89" fmla="*/ 471053 w 5225882"/>
              <a:gd name="connsiteY89" fmla="*/ 511044 h 6360069"/>
              <a:gd name="connsiteX90" fmla="*/ 472773 w 5225882"/>
              <a:gd name="connsiteY90" fmla="*/ 508008 h 6360069"/>
              <a:gd name="connsiteX91" fmla="*/ 461531 w 5225882"/>
              <a:gd name="connsiteY91" fmla="*/ 489242 h 6360069"/>
              <a:gd name="connsiteX92" fmla="*/ 460499 w 5225882"/>
              <a:gd name="connsiteY92" fmla="*/ 485445 h 6360069"/>
              <a:gd name="connsiteX93" fmla="*/ 460453 w 5225882"/>
              <a:gd name="connsiteY93" fmla="*/ 242376 h 6360069"/>
              <a:gd name="connsiteX94" fmla="*/ 457444 w 5225882"/>
              <a:gd name="connsiteY94" fmla="*/ 239367 h 6360069"/>
              <a:gd name="connsiteX95" fmla="*/ 712019 w 5225882"/>
              <a:gd name="connsiteY95" fmla="*/ 239367 h 6360069"/>
              <a:gd name="connsiteX96" fmla="*/ 710308 w 5225882"/>
              <a:gd name="connsiteY96" fmla="*/ 242416 h 6360069"/>
              <a:gd name="connsiteX97" fmla="*/ 721554 w 5225882"/>
              <a:gd name="connsiteY97" fmla="*/ 260945 h 6360069"/>
              <a:gd name="connsiteX98" fmla="*/ 722813 w 5225882"/>
              <a:gd name="connsiteY98" fmla="*/ 265355 h 6360069"/>
              <a:gd name="connsiteX99" fmla="*/ 722813 w 5225882"/>
              <a:gd name="connsiteY99" fmla="*/ 322627 h 6360069"/>
              <a:gd name="connsiteX100" fmla="*/ 722796 w 5225882"/>
              <a:gd name="connsiteY100" fmla="*/ 322627 h 6360069"/>
              <a:gd name="connsiteX101" fmla="*/ 722796 w 5225882"/>
              <a:gd name="connsiteY101" fmla="*/ 485148 h 6360069"/>
              <a:gd name="connsiteX102" fmla="*/ 721537 w 5225882"/>
              <a:gd name="connsiteY102" fmla="*/ 489558 h 6360069"/>
              <a:gd name="connsiteX103" fmla="*/ 710292 w 5225882"/>
              <a:gd name="connsiteY103" fmla="*/ 508005 h 6360069"/>
              <a:gd name="connsiteX104" fmla="*/ 712002 w 5225882"/>
              <a:gd name="connsiteY104" fmla="*/ 511054 h 6360069"/>
              <a:gd name="connsiteX105" fmla="*/ 784399 w 5225882"/>
              <a:gd name="connsiteY105" fmla="*/ 511054 h 6360069"/>
              <a:gd name="connsiteX106" fmla="*/ 786109 w 5225882"/>
              <a:gd name="connsiteY106" fmla="*/ 508005 h 6360069"/>
              <a:gd name="connsiteX107" fmla="*/ 774864 w 5225882"/>
              <a:gd name="connsiteY107" fmla="*/ 489558 h 6360069"/>
              <a:gd name="connsiteX108" fmla="*/ 773615 w 5225882"/>
              <a:gd name="connsiteY108" fmla="*/ 485284 h 6360069"/>
              <a:gd name="connsiteX109" fmla="*/ 773595 w 5225882"/>
              <a:gd name="connsiteY109" fmla="*/ 369560 h 6360069"/>
              <a:gd name="connsiteX110" fmla="*/ 776614 w 5225882"/>
              <a:gd name="connsiteY110" fmla="*/ 366590 h 6360069"/>
              <a:gd name="connsiteX111" fmla="*/ 816899 w 5225882"/>
              <a:gd name="connsiteY111" fmla="*/ 375166 h 6360069"/>
              <a:gd name="connsiteX112" fmla="*/ 844710 w 5225882"/>
              <a:gd name="connsiteY112" fmla="*/ 396652 h 6360069"/>
              <a:gd name="connsiteX113" fmla="*/ 845296 w 5225882"/>
              <a:gd name="connsiteY113" fmla="*/ 397324 h 6360069"/>
              <a:gd name="connsiteX114" fmla="*/ 848796 w 5225882"/>
              <a:gd name="connsiteY114" fmla="*/ 395999 h 6360069"/>
              <a:gd name="connsiteX115" fmla="*/ 848796 w 5225882"/>
              <a:gd name="connsiteY115" fmla="*/ 354010 h 6360069"/>
              <a:gd name="connsiteX116" fmla="*/ 845791 w 5225882"/>
              <a:gd name="connsiteY116" fmla="*/ 351004 h 6360069"/>
              <a:gd name="connsiteX117" fmla="*/ 837343 w 5225882"/>
              <a:gd name="connsiteY117" fmla="*/ 351004 h 6360069"/>
              <a:gd name="connsiteX118" fmla="*/ 837343 w 5225882"/>
              <a:gd name="connsiteY118" fmla="*/ 351001 h 6360069"/>
              <a:gd name="connsiteX119" fmla="*/ 775675 w 5225882"/>
              <a:gd name="connsiteY119" fmla="*/ 351001 h 6360069"/>
              <a:gd name="connsiteX120" fmla="*/ 773671 w 5225882"/>
              <a:gd name="connsiteY120" fmla="*/ 348997 h 6360069"/>
              <a:gd name="connsiteX121" fmla="*/ 773671 w 5225882"/>
              <a:gd name="connsiteY121" fmla="*/ 257122 h 6360069"/>
              <a:gd name="connsiteX122" fmla="*/ 775652 w 5225882"/>
              <a:gd name="connsiteY122" fmla="*/ 255118 h 6360069"/>
              <a:gd name="connsiteX123" fmla="*/ 801277 w 5225882"/>
              <a:gd name="connsiteY123" fmla="*/ 254970 h 6360069"/>
              <a:gd name="connsiteX124" fmla="*/ 838138 w 5225882"/>
              <a:gd name="connsiteY124" fmla="*/ 257936 h 6360069"/>
              <a:gd name="connsiteX125" fmla="*/ 874494 w 5225882"/>
              <a:gd name="connsiteY125" fmla="*/ 272523 h 6360069"/>
              <a:gd name="connsiteX126" fmla="*/ 902318 w 5225882"/>
              <a:gd name="connsiteY126" fmla="*/ 293066 h 6360069"/>
              <a:gd name="connsiteX127" fmla="*/ 903722 w 5225882"/>
              <a:gd name="connsiteY127" fmla="*/ 294549 h 6360069"/>
              <a:gd name="connsiteX128" fmla="*/ 907189 w 5225882"/>
              <a:gd name="connsiteY128" fmla="*/ 293182 h 6360069"/>
              <a:gd name="connsiteX129" fmla="*/ 907189 w 5225882"/>
              <a:gd name="connsiteY129" fmla="*/ 242383 h 6360069"/>
              <a:gd name="connsiteX130" fmla="*/ 904183 w 5225882"/>
              <a:gd name="connsiteY130" fmla="*/ 239377 h 6360069"/>
              <a:gd name="connsiteX131" fmla="*/ 0 w 5225882"/>
              <a:gd name="connsiteY131" fmla="*/ 0 h 6360069"/>
              <a:gd name="connsiteX132" fmla="*/ 5225882 w 5225882"/>
              <a:gd name="connsiteY132" fmla="*/ 0 h 6360069"/>
              <a:gd name="connsiteX133" fmla="*/ 5225882 w 5225882"/>
              <a:gd name="connsiteY133" fmla="*/ 6360069 h 6360069"/>
              <a:gd name="connsiteX134" fmla="*/ 0 w 5225882"/>
              <a:gd name="connsiteY134" fmla="*/ 6360069 h 63600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</a:cxnLst>
            <a:rect l="l" t="t" r="r" b="b"/>
            <a:pathLst>
              <a:path w="5225882" h="6360069">
                <a:moveTo>
                  <a:pt x="606623" y="366808"/>
                </a:moveTo>
                <a:cubicBezTo>
                  <a:pt x="617487" y="369161"/>
                  <a:pt x="626962" y="374078"/>
                  <a:pt x="634460" y="382423"/>
                </a:cubicBezTo>
                <a:cubicBezTo>
                  <a:pt x="642169" y="391003"/>
                  <a:pt x="646332" y="401233"/>
                  <a:pt x="648112" y="412495"/>
                </a:cubicBezTo>
                <a:cubicBezTo>
                  <a:pt x="649806" y="423213"/>
                  <a:pt x="649199" y="433868"/>
                  <a:pt x="646421" y="444333"/>
                </a:cubicBezTo>
                <a:lnTo>
                  <a:pt x="646418" y="444333"/>
                </a:lnTo>
                <a:cubicBezTo>
                  <a:pt x="642364" y="459616"/>
                  <a:pt x="635040" y="472927"/>
                  <a:pt x="622196" y="482654"/>
                </a:cubicBezTo>
                <a:cubicBezTo>
                  <a:pt x="613835" y="488985"/>
                  <a:pt x="603572" y="492347"/>
                  <a:pt x="593084" y="492419"/>
                </a:cubicBezTo>
                <a:cubicBezTo>
                  <a:pt x="579301" y="492518"/>
                  <a:pt x="553073" y="492432"/>
                  <a:pt x="545654" y="492383"/>
                </a:cubicBezTo>
                <a:cubicBezTo>
                  <a:pt x="544553" y="492376"/>
                  <a:pt x="543663" y="491493"/>
                  <a:pt x="543663" y="490392"/>
                </a:cubicBezTo>
                <a:cubicBezTo>
                  <a:pt x="543663" y="479272"/>
                  <a:pt x="543670" y="416305"/>
                  <a:pt x="543627" y="386052"/>
                </a:cubicBezTo>
                <a:cubicBezTo>
                  <a:pt x="543627" y="384846"/>
                  <a:pt x="544355" y="383768"/>
                  <a:pt x="545476" y="383313"/>
                </a:cubicBezTo>
                <a:lnTo>
                  <a:pt x="602599" y="366926"/>
                </a:lnTo>
                <a:cubicBezTo>
                  <a:pt x="603786" y="366468"/>
                  <a:pt x="605338" y="366528"/>
                  <a:pt x="606623" y="366808"/>
                </a:cubicBezTo>
                <a:close/>
                <a:moveTo>
                  <a:pt x="409130" y="364754"/>
                </a:moveTo>
                <a:lnTo>
                  <a:pt x="409130" y="366537"/>
                </a:lnTo>
                <a:lnTo>
                  <a:pt x="409130" y="364754"/>
                </a:lnTo>
                <a:close/>
                <a:moveTo>
                  <a:pt x="545782" y="254966"/>
                </a:moveTo>
                <a:lnTo>
                  <a:pt x="553794" y="254966"/>
                </a:lnTo>
                <a:cubicBezTo>
                  <a:pt x="564802" y="255013"/>
                  <a:pt x="575814" y="254891"/>
                  <a:pt x="586809" y="255316"/>
                </a:cubicBezTo>
                <a:cubicBezTo>
                  <a:pt x="596370" y="255685"/>
                  <a:pt x="605803" y="257184"/>
                  <a:pt x="614692" y="261067"/>
                </a:cubicBezTo>
                <a:cubicBezTo>
                  <a:pt x="625407" y="265750"/>
                  <a:pt x="632868" y="275177"/>
                  <a:pt x="635442" y="286873"/>
                </a:cubicBezTo>
                <a:cubicBezTo>
                  <a:pt x="638007" y="298534"/>
                  <a:pt x="635614" y="309265"/>
                  <a:pt x="629012" y="319120"/>
                </a:cubicBezTo>
                <a:cubicBezTo>
                  <a:pt x="613205" y="342728"/>
                  <a:pt x="586970" y="350233"/>
                  <a:pt x="561708" y="360572"/>
                </a:cubicBezTo>
                <a:cubicBezTo>
                  <a:pt x="556708" y="362619"/>
                  <a:pt x="551632" y="364478"/>
                  <a:pt x="546372" y="366458"/>
                </a:cubicBezTo>
                <a:cubicBezTo>
                  <a:pt x="545064" y="366953"/>
                  <a:pt x="543656" y="365997"/>
                  <a:pt x="543653" y="364596"/>
                </a:cubicBezTo>
                <a:cubicBezTo>
                  <a:pt x="543643" y="352276"/>
                  <a:pt x="543620" y="308521"/>
                  <a:pt x="543775" y="282958"/>
                </a:cubicBezTo>
                <a:lnTo>
                  <a:pt x="543778" y="282961"/>
                </a:lnTo>
                <a:lnTo>
                  <a:pt x="543778" y="256970"/>
                </a:lnTo>
                <a:cubicBezTo>
                  <a:pt x="543778" y="255863"/>
                  <a:pt x="544675" y="254966"/>
                  <a:pt x="545782" y="254966"/>
                </a:cubicBezTo>
                <a:close/>
                <a:moveTo>
                  <a:pt x="482011" y="239377"/>
                </a:moveTo>
                <a:cubicBezTo>
                  <a:pt x="480445" y="239377"/>
                  <a:pt x="479486" y="241091"/>
                  <a:pt x="480300" y="242426"/>
                </a:cubicBezTo>
                <a:lnTo>
                  <a:pt x="491546" y="260873"/>
                </a:lnTo>
                <a:cubicBezTo>
                  <a:pt x="492370" y="262197"/>
                  <a:pt x="492808" y="263723"/>
                  <a:pt x="492805" y="265282"/>
                </a:cubicBezTo>
                <a:lnTo>
                  <a:pt x="492805" y="265207"/>
                </a:lnTo>
                <a:cubicBezTo>
                  <a:pt x="492838" y="337550"/>
                  <a:pt x="492838" y="435035"/>
                  <a:pt x="492805" y="508065"/>
                </a:cubicBezTo>
                <a:cubicBezTo>
                  <a:pt x="492805" y="509729"/>
                  <a:pt x="494156" y="511060"/>
                  <a:pt x="495820" y="511054"/>
                </a:cubicBezTo>
                <a:lnTo>
                  <a:pt x="605519" y="511054"/>
                </a:lnTo>
                <a:cubicBezTo>
                  <a:pt x="617094" y="511011"/>
                  <a:pt x="628521" y="509231"/>
                  <a:pt x="639681" y="506084"/>
                </a:cubicBezTo>
                <a:cubicBezTo>
                  <a:pt x="655385" y="501657"/>
                  <a:pt x="669383" y="494153"/>
                  <a:pt x="680684" y="482235"/>
                </a:cubicBezTo>
                <a:cubicBezTo>
                  <a:pt x="693360" y="468867"/>
                  <a:pt x="700621" y="452902"/>
                  <a:pt x="702493" y="434462"/>
                </a:cubicBezTo>
                <a:cubicBezTo>
                  <a:pt x="704101" y="418586"/>
                  <a:pt x="701254" y="402611"/>
                  <a:pt x="693769" y="388517"/>
                </a:cubicBezTo>
                <a:lnTo>
                  <a:pt x="693772" y="388514"/>
                </a:lnTo>
                <a:cubicBezTo>
                  <a:pt x="684036" y="370176"/>
                  <a:pt x="668839" y="358397"/>
                  <a:pt x="648023" y="353779"/>
                </a:cubicBezTo>
                <a:cubicBezTo>
                  <a:pt x="643636" y="352807"/>
                  <a:pt x="639121" y="352402"/>
                  <a:pt x="634697" y="351868"/>
                </a:cubicBezTo>
                <a:cubicBezTo>
                  <a:pt x="633989" y="351782"/>
                  <a:pt x="633818" y="350833"/>
                  <a:pt x="634450" y="350506"/>
                </a:cubicBezTo>
                <a:cubicBezTo>
                  <a:pt x="640584" y="347366"/>
                  <a:pt x="658411" y="337837"/>
                  <a:pt x="665995" y="330174"/>
                </a:cubicBezTo>
                <a:cubicBezTo>
                  <a:pt x="677573" y="318474"/>
                  <a:pt x="685335" y="304872"/>
                  <a:pt x="685645" y="287918"/>
                </a:cubicBezTo>
                <a:cubicBezTo>
                  <a:pt x="685898" y="274039"/>
                  <a:pt x="680707" y="262639"/>
                  <a:pt x="669597" y="254146"/>
                </a:cubicBezTo>
                <a:cubicBezTo>
                  <a:pt x="661967" y="248312"/>
                  <a:pt x="653200" y="244937"/>
                  <a:pt x="643923" y="242805"/>
                </a:cubicBezTo>
                <a:cubicBezTo>
                  <a:pt x="632865" y="240260"/>
                  <a:pt x="621603" y="239413"/>
                  <a:pt x="610295" y="239397"/>
                </a:cubicBezTo>
                <a:lnTo>
                  <a:pt x="492805" y="239377"/>
                </a:lnTo>
                <a:close/>
                <a:moveTo>
                  <a:pt x="398465" y="239367"/>
                </a:moveTo>
                <a:cubicBezTo>
                  <a:pt x="396906" y="239367"/>
                  <a:pt x="395944" y="241068"/>
                  <a:pt x="396745" y="242402"/>
                </a:cubicBezTo>
                <a:lnTo>
                  <a:pt x="408231" y="261574"/>
                </a:lnTo>
                <a:cubicBezTo>
                  <a:pt x="408791" y="262524"/>
                  <a:pt x="409088" y="263605"/>
                  <a:pt x="409091" y="264709"/>
                </a:cubicBezTo>
                <a:cubicBezTo>
                  <a:pt x="409114" y="279522"/>
                  <a:pt x="409124" y="297573"/>
                  <a:pt x="409128" y="315623"/>
                </a:cubicBezTo>
                <a:lnTo>
                  <a:pt x="409130" y="364754"/>
                </a:lnTo>
                <a:lnTo>
                  <a:pt x="406415" y="366448"/>
                </a:lnTo>
                <a:lnTo>
                  <a:pt x="361743" y="350786"/>
                </a:lnTo>
                <a:cubicBezTo>
                  <a:pt x="361041" y="350510"/>
                  <a:pt x="360260" y="350510"/>
                  <a:pt x="359554" y="350783"/>
                </a:cubicBezTo>
                <a:lnTo>
                  <a:pt x="314329" y="366495"/>
                </a:lnTo>
                <a:cubicBezTo>
                  <a:pt x="313014" y="367005"/>
                  <a:pt x="311550" y="367902"/>
                  <a:pt x="311550" y="366495"/>
                </a:cubicBezTo>
                <a:lnTo>
                  <a:pt x="311547" y="364725"/>
                </a:lnTo>
                <a:lnTo>
                  <a:pt x="311547" y="242386"/>
                </a:lnTo>
                <a:cubicBezTo>
                  <a:pt x="311547" y="240725"/>
                  <a:pt x="310199" y="239377"/>
                  <a:pt x="308538" y="239377"/>
                </a:cubicBezTo>
                <a:lnTo>
                  <a:pt x="250047" y="239377"/>
                </a:lnTo>
                <a:cubicBezTo>
                  <a:pt x="248484" y="239377"/>
                  <a:pt x="247522" y="241091"/>
                  <a:pt x="248336" y="242426"/>
                </a:cubicBezTo>
                <a:lnTo>
                  <a:pt x="259585" y="260952"/>
                </a:lnTo>
                <a:cubicBezTo>
                  <a:pt x="260409" y="262276"/>
                  <a:pt x="260847" y="263802"/>
                  <a:pt x="260844" y="265361"/>
                </a:cubicBezTo>
                <a:cubicBezTo>
                  <a:pt x="260817" y="338622"/>
                  <a:pt x="260817" y="411882"/>
                  <a:pt x="260847" y="485145"/>
                </a:cubicBezTo>
                <a:cubicBezTo>
                  <a:pt x="260847" y="486628"/>
                  <a:pt x="260432" y="488078"/>
                  <a:pt x="259651" y="489337"/>
                </a:cubicBezTo>
                <a:lnTo>
                  <a:pt x="248313" y="508005"/>
                </a:lnTo>
                <a:cubicBezTo>
                  <a:pt x="247502" y="509343"/>
                  <a:pt x="248465" y="511054"/>
                  <a:pt x="250027" y="511054"/>
                </a:cubicBezTo>
                <a:lnTo>
                  <a:pt x="322334" y="511054"/>
                </a:lnTo>
                <a:cubicBezTo>
                  <a:pt x="323893" y="511054"/>
                  <a:pt x="324856" y="509353"/>
                  <a:pt x="324055" y="508015"/>
                </a:cubicBezTo>
                <a:lnTo>
                  <a:pt x="312635" y="488981"/>
                </a:lnTo>
                <a:cubicBezTo>
                  <a:pt x="311999" y="487904"/>
                  <a:pt x="311662" y="486658"/>
                  <a:pt x="311659" y="485405"/>
                </a:cubicBezTo>
                <a:cubicBezTo>
                  <a:pt x="311613" y="450127"/>
                  <a:pt x="311616" y="444626"/>
                  <a:pt x="311620" y="411868"/>
                </a:cubicBezTo>
                <a:lnTo>
                  <a:pt x="311606" y="404239"/>
                </a:lnTo>
                <a:lnTo>
                  <a:pt x="311600" y="399015"/>
                </a:lnTo>
                <a:cubicBezTo>
                  <a:pt x="311620" y="398006"/>
                  <a:pt x="312186" y="397070"/>
                  <a:pt x="313037" y="396526"/>
                </a:cubicBezTo>
                <a:cubicBezTo>
                  <a:pt x="319530" y="392387"/>
                  <a:pt x="347136" y="374784"/>
                  <a:pt x="359548" y="366933"/>
                </a:cubicBezTo>
                <a:cubicBezTo>
                  <a:pt x="360187" y="366531"/>
                  <a:pt x="360998" y="366531"/>
                  <a:pt x="361634" y="366939"/>
                </a:cubicBezTo>
                <a:lnTo>
                  <a:pt x="407822" y="396563"/>
                </a:lnTo>
                <a:cubicBezTo>
                  <a:pt x="408623" y="397077"/>
                  <a:pt x="409111" y="397937"/>
                  <a:pt x="409180" y="398876"/>
                </a:cubicBezTo>
                <a:lnTo>
                  <a:pt x="409186" y="403049"/>
                </a:lnTo>
                <a:lnTo>
                  <a:pt x="409200" y="411605"/>
                </a:lnTo>
                <a:lnTo>
                  <a:pt x="409200" y="508035"/>
                </a:lnTo>
                <a:cubicBezTo>
                  <a:pt x="409200" y="509696"/>
                  <a:pt x="410548" y="511044"/>
                  <a:pt x="412209" y="511044"/>
                </a:cubicBezTo>
                <a:lnTo>
                  <a:pt x="471053" y="511044"/>
                </a:lnTo>
                <a:cubicBezTo>
                  <a:pt x="472612" y="511044"/>
                  <a:pt x="473574" y="509343"/>
                  <a:pt x="472773" y="508008"/>
                </a:cubicBezTo>
                <a:lnTo>
                  <a:pt x="461531" y="489242"/>
                </a:lnTo>
                <a:cubicBezTo>
                  <a:pt x="460855" y="488092"/>
                  <a:pt x="460499" y="486780"/>
                  <a:pt x="460499" y="485445"/>
                </a:cubicBezTo>
                <a:lnTo>
                  <a:pt x="460453" y="242376"/>
                </a:lnTo>
                <a:cubicBezTo>
                  <a:pt x="460453" y="240715"/>
                  <a:pt x="459105" y="239367"/>
                  <a:pt x="457444" y="239367"/>
                </a:cubicBezTo>
                <a:close/>
                <a:moveTo>
                  <a:pt x="712019" y="239367"/>
                </a:moveTo>
                <a:cubicBezTo>
                  <a:pt x="710453" y="239367"/>
                  <a:pt x="709494" y="241081"/>
                  <a:pt x="710308" y="242416"/>
                </a:cubicBezTo>
                <a:lnTo>
                  <a:pt x="721554" y="260945"/>
                </a:lnTo>
                <a:cubicBezTo>
                  <a:pt x="722378" y="262270"/>
                  <a:pt x="722816" y="263796"/>
                  <a:pt x="722813" y="265355"/>
                </a:cubicBezTo>
                <a:lnTo>
                  <a:pt x="722813" y="322627"/>
                </a:lnTo>
                <a:cubicBezTo>
                  <a:pt x="722813" y="322627"/>
                  <a:pt x="722796" y="322627"/>
                  <a:pt x="722796" y="322627"/>
                </a:cubicBezTo>
                <a:lnTo>
                  <a:pt x="722796" y="485148"/>
                </a:lnTo>
                <a:cubicBezTo>
                  <a:pt x="722796" y="486707"/>
                  <a:pt x="722358" y="488233"/>
                  <a:pt x="721537" y="489558"/>
                </a:cubicBezTo>
                <a:lnTo>
                  <a:pt x="710292" y="508005"/>
                </a:lnTo>
                <a:cubicBezTo>
                  <a:pt x="709478" y="509340"/>
                  <a:pt x="710440" y="511054"/>
                  <a:pt x="712002" y="511054"/>
                </a:cubicBezTo>
                <a:lnTo>
                  <a:pt x="784399" y="511054"/>
                </a:lnTo>
                <a:cubicBezTo>
                  <a:pt x="785964" y="511054"/>
                  <a:pt x="786924" y="509340"/>
                  <a:pt x="786109" y="508005"/>
                </a:cubicBezTo>
                <a:lnTo>
                  <a:pt x="774864" y="489558"/>
                </a:lnTo>
                <a:cubicBezTo>
                  <a:pt x="774066" y="488273"/>
                  <a:pt x="773638" y="486796"/>
                  <a:pt x="773615" y="485284"/>
                </a:cubicBezTo>
                <a:cubicBezTo>
                  <a:pt x="773595" y="442985"/>
                  <a:pt x="773595" y="381646"/>
                  <a:pt x="773595" y="369560"/>
                </a:cubicBezTo>
                <a:cubicBezTo>
                  <a:pt x="773595" y="367902"/>
                  <a:pt x="774956" y="366590"/>
                  <a:pt x="776614" y="366590"/>
                </a:cubicBezTo>
                <a:cubicBezTo>
                  <a:pt x="792213" y="366590"/>
                  <a:pt x="805275" y="369935"/>
                  <a:pt x="816899" y="375166"/>
                </a:cubicBezTo>
                <a:cubicBezTo>
                  <a:pt x="827828" y="380083"/>
                  <a:pt x="838049" y="385897"/>
                  <a:pt x="844710" y="396652"/>
                </a:cubicBezTo>
                <a:cubicBezTo>
                  <a:pt x="844865" y="396902"/>
                  <a:pt x="845099" y="397096"/>
                  <a:pt x="845296" y="397324"/>
                </a:cubicBezTo>
                <a:cubicBezTo>
                  <a:pt x="846512" y="398708"/>
                  <a:pt x="848796" y="397841"/>
                  <a:pt x="848796" y="395999"/>
                </a:cubicBezTo>
                <a:lnTo>
                  <a:pt x="848796" y="354010"/>
                </a:lnTo>
                <a:cubicBezTo>
                  <a:pt x="848796" y="352349"/>
                  <a:pt x="847452" y="351004"/>
                  <a:pt x="845791" y="351004"/>
                </a:cubicBezTo>
                <a:lnTo>
                  <a:pt x="837343" y="351004"/>
                </a:lnTo>
                <a:lnTo>
                  <a:pt x="837343" y="351001"/>
                </a:lnTo>
                <a:lnTo>
                  <a:pt x="775675" y="351001"/>
                </a:lnTo>
                <a:cubicBezTo>
                  <a:pt x="774567" y="351001"/>
                  <a:pt x="773671" y="350104"/>
                  <a:pt x="773671" y="348997"/>
                </a:cubicBezTo>
                <a:lnTo>
                  <a:pt x="773671" y="257122"/>
                </a:lnTo>
                <a:cubicBezTo>
                  <a:pt x="773671" y="256021"/>
                  <a:pt x="774551" y="255128"/>
                  <a:pt x="775652" y="255118"/>
                </a:cubicBezTo>
                <a:cubicBezTo>
                  <a:pt x="781940" y="255065"/>
                  <a:pt x="801043" y="254963"/>
                  <a:pt x="801277" y="254970"/>
                </a:cubicBezTo>
                <a:cubicBezTo>
                  <a:pt x="813623" y="255187"/>
                  <a:pt x="825940" y="255863"/>
                  <a:pt x="838138" y="257936"/>
                </a:cubicBezTo>
                <a:cubicBezTo>
                  <a:pt x="850985" y="260118"/>
                  <a:pt x="863193" y="265955"/>
                  <a:pt x="874494" y="272523"/>
                </a:cubicBezTo>
                <a:cubicBezTo>
                  <a:pt x="885011" y="278634"/>
                  <a:pt x="893979" y="284303"/>
                  <a:pt x="902318" y="293066"/>
                </a:cubicBezTo>
                <a:cubicBezTo>
                  <a:pt x="902786" y="293554"/>
                  <a:pt x="903250" y="294048"/>
                  <a:pt x="903722" y="294549"/>
                </a:cubicBezTo>
                <a:cubicBezTo>
                  <a:pt x="904968" y="295874"/>
                  <a:pt x="907189" y="294998"/>
                  <a:pt x="907189" y="293182"/>
                </a:cubicBezTo>
                <a:lnTo>
                  <a:pt x="907189" y="242383"/>
                </a:lnTo>
                <a:cubicBezTo>
                  <a:pt x="907189" y="240722"/>
                  <a:pt x="905844" y="239377"/>
                  <a:pt x="904183" y="239377"/>
                </a:cubicBezTo>
                <a:close/>
                <a:moveTo>
                  <a:pt x="0" y="0"/>
                </a:moveTo>
                <a:lnTo>
                  <a:pt x="5225882" y="0"/>
                </a:lnTo>
                <a:lnTo>
                  <a:pt x="5225882" y="6360069"/>
                </a:lnTo>
                <a:lnTo>
                  <a:pt x="0" y="636006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Content Placeholder 19">
            <a:extLst>
              <a:ext uri="{FF2B5EF4-FFF2-40B4-BE49-F238E27FC236}">
                <a16:creationId xmlns:a16="http://schemas.microsoft.com/office/drawing/2014/main" id="{2F1A7663-97B9-C66F-16AC-7F1779EBFCC1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096000" y="2017643"/>
            <a:ext cx="4922923" cy="414229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/>
            </a:lvl1pPr>
            <a:lvl2pPr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05983023-795A-8A1D-C3B5-0BD867ED3564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096000" y="1564570"/>
            <a:ext cx="4922923" cy="345112"/>
          </a:xfrm>
        </p:spPr>
        <p:txBody>
          <a:bodyPr numCol="1">
            <a:noAutofit/>
          </a:bodyPr>
          <a:lstStyle>
            <a:lvl1pPr marL="0" indent="0">
              <a:buNone/>
              <a:defRPr sz="2400" b="0" i="0">
                <a:latin typeface="Helvetica" pitchFamily="2" charset="0"/>
                <a:ea typeface="Bagoss Standard" panose="020B0504060102020204" pitchFamily="34" charset="77"/>
                <a:cs typeface="Bagoss Standard" panose="020B0504060102020204" pitchFamily="34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9B0DC42-C642-14F8-769C-343DD13CAA7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0" y="1053550"/>
            <a:ext cx="4922923" cy="541204"/>
          </a:xfrm>
        </p:spPr>
        <p:txBody>
          <a:bodyPr anchor="t">
            <a:noAutofit/>
          </a:bodyPr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5664678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Image-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617D95FA-5117-BE51-2B4C-1179F740B88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711037" y="255460"/>
            <a:ext cx="5225881" cy="636006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844A3A-D774-693F-966C-B86D438BF5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52353" y="1053550"/>
            <a:ext cx="4922923" cy="541204"/>
          </a:xfrm>
        </p:spPr>
        <p:txBody>
          <a:bodyPr anchor="t">
            <a:noAutofit/>
          </a:bodyPr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19">
            <a:extLst>
              <a:ext uri="{FF2B5EF4-FFF2-40B4-BE49-F238E27FC236}">
                <a16:creationId xmlns:a16="http://schemas.microsoft.com/office/drawing/2014/main" id="{BDEDBC45-BAA6-EE43-EF3B-7DE6BAF8241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152354" y="2017643"/>
            <a:ext cx="4922923" cy="414229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/>
            </a:lvl1pPr>
            <a:lvl2pPr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C3C8B27-EACC-0993-C5EC-7BE4D2C9F7FC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1152354" y="1564570"/>
            <a:ext cx="4922923" cy="345112"/>
          </a:xfrm>
        </p:spPr>
        <p:txBody>
          <a:bodyPr numCol="1">
            <a:noAutofit/>
          </a:bodyPr>
          <a:lstStyle>
            <a:lvl1pPr marL="0" indent="0">
              <a:buNone/>
              <a:defRPr sz="2400" b="0" i="0">
                <a:latin typeface="Helvetica" pitchFamily="2" charset="0"/>
                <a:ea typeface="Bagoss Standard" panose="020B0504060102020204" pitchFamily="34" charset="77"/>
                <a:cs typeface="Bagoss Standard" panose="020B0504060102020204" pitchFamily="34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8763043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-Pattern-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153A4BC6-7E8A-809D-2D8C-B0A522E6466E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-1" y="1"/>
            <a:ext cx="12192000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12DF22C9-85A5-87F1-1854-5C7AE949342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5165" y="2371238"/>
            <a:ext cx="11701669" cy="719689"/>
          </a:xfrm>
        </p:spPr>
        <p:txBody>
          <a:bodyPr anchor="t">
            <a:noAutofit/>
          </a:bodyPr>
          <a:lstStyle>
            <a:lvl1pPr algn="ctr"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BC0EB8F4-E905-DB1E-41FF-5C464A677D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3999" y="3195226"/>
            <a:ext cx="9144000" cy="528002"/>
          </a:xfrm>
        </p:spPr>
        <p:txBody>
          <a:bodyPr/>
          <a:lstStyle>
            <a:lvl1pPr marL="0" indent="0" algn="ctr">
              <a:buNone/>
              <a:defRPr sz="2400" b="0" i="0">
                <a:solidFill>
                  <a:schemeClr val="tx1"/>
                </a:solidFill>
                <a:latin typeface="Bagoss Standard" panose="020B0504060102020204" pitchFamily="34" charset="77"/>
                <a:ea typeface="Bagoss Standard" panose="020B0504060102020204" pitchFamily="34" charset="77"/>
                <a:cs typeface="Bagoss Standard" panose="020B0504060102020204" pitchFamily="34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4445165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43336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-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1C625431-9E2B-4C54-D4A1-FBD287B9FB02}"/>
              </a:ext>
            </a:extLst>
          </p:cNvPr>
          <p:cNvSpPr/>
          <p:nvPr/>
        </p:nvSpPr>
        <p:spPr>
          <a:xfrm>
            <a:off x="-1" y="-1"/>
            <a:ext cx="12192000" cy="6858000"/>
          </a:xfrm>
          <a:custGeom>
            <a:avLst/>
            <a:gdLst>
              <a:gd name="connsiteX0" fmla="*/ 245165 w 12192000"/>
              <a:gd name="connsiteY0" fmla="*/ 242472 h 6858000"/>
              <a:gd name="connsiteX1" fmla="*/ 245165 w 12192000"/>
              <a:gd name="connsiteY1" fmla="*/ 6615528 h 6858000"/>
              <a:gd name="connsiteX2" fmla="*/ 11470341 w 12192000"/>
              <a:gd name="connsiteY2" fmla="*/ 6615528 h 6858000"/>
              <a:gd name="connsiteX3" fmla="*/ 11470341 w 12192000"/>
              <a:gd name="connsiteY3" fmla="*/ 6212541 h 6858000"/>
              <a:gd name="connsiteX4" fmla="*/ 11936921 w 12192000"/>
              <a:gd name="connsiteY4" fmla="*/ 6212541 h 6858000"/>
              <a:gd name="connsiteX5" fmla="*/ 11936921 w 12192000"/>
              <a:gd name="connsiteY5" fmla="*/ 242472 h 6858000"/>
              <a:gd name="connsiteX6" fmla="*/ 0 w 12192000"/>
              <a:gd name="connsiteY6" fmla="*/ 0 h 6858000"/>
              <a:gd name="connsiteX7" fmla="*/ 12192000 w 12192000"/>
              <a:gd name="connsiteY7" fmla="*/ 0 h 6858000"/>
              <a:gd name="connsiteX8" fmla="*/ 12192000 w 12192000"/>
              <a:gd name="connsiteY8" fmla="*/ 6212541 h 6858000"/>
              <a:gd name="connsiteX9" fmla="*/ 12192000 w 12192000"/>
              <a:gd name="connsiteY9" fmla="*/ 6858000 h 6858000"/>
              <a:gd name="connsiteX10" fmla="*/ 11470341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245165" y="242472"/>
                </a:moveTo>
                <a:lnTo>
                  <a:pt x="245165" y="6615528"/>
                </a:lnTo>
                <a:lnTo>
                  <a:pt x="11470341" y="6615528"/>
                </a:lnTo>
                <a:lnTo>
                  <a:pt x="11470341" y="6212541"/>
                </a:lnTo>
                <a:lnTo>
                  <a:pt x="11936921" y="6212541"/>
                </a:lnTo>
                <a:lnTo>
                  <a:pt x="11936921" y="24247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212541"/>
                </a:lnTo>
                <a:lnTo>
                  <a:pt x="12192000" y="6858000"/>
                </a:lnTo>
                <a:lnTo>
                  <a:pt x="1147034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97317161-2CD7-7DFA-011F-A55C360C705F}"/>
              </a:ext>
            </a:extLst>
          </p:cNvPr>
          <p:cNvSpPr/>
          <p:nvPr/>
        </p:nvSpPr>
        <p:spPr>
          <a:xfrm>
            <a:off x="8917401" y="2927688"/>
            <a:ext cx="3019519" cy="3674852"/>
          </a:xfrm>
          <a:custGeom>
            <a:avLst/>
            <a:gdLst>
              <a:gd name="connsiteX0" fmla="*/ 676211 w 790892"/>
              <a:gd name="connsiteY0" fmla="*/ 962478 h 962541"/>
              <a:gd name="connsiteX1" fmla="*/ 24892 w 790892"/>
              <a:gd name="connsiteY1" fmla="*/ 962478 h 962541"/>
              <a:gd name="connsiteX2" fmla="*/ 444 w 790892"/>
              <a:gd name="connsiteY2" fmla="*/ 938030 h 962541"/>
              <a:gd name="connsiteX3" fmla="*/ 127 w 790892"/>
              <a:gd name="connsiteY3" fmla="*/ 366593 h 962541"/>
              <a:gd name="connsiteX4" fmla="*/ 0 w 790892"/>
              <a:gd name="connsiteY4" fmla="*/ 304744 h 962541"/>
              <a:gd name="connsiteX5" fmla="*/ 0 w 790892"/>
              <a:gd name="connsiteY5" fmla="*/ 262390 h 962541"/>
              <a:gd name="connsiteX6" fmla="*/ 11620 w 790892"/>
              <a:gd name="connsiteY6" fmla="*/ 242261 h 962541"/>
              <a:gd name="connsiteX7" fmla="*/ 388556 w 790892"/>
              <a:gd name="connsiteY7" fmla="*/ 2421 h 962541"/>
              <a:gd name="connsiteX8" fmla="*/ 405447 w 790892"/>
              <a:gd name="connsiteY8" fmla="*/ 2485 h 962541"/>
              <a:gd name="connsiteX9" fmla="*/ 779780 w 790892"/>
              <a:gd name="connsiteY9" fmla="*/ 242578 h 962541"/>
              <a:gd name="connsiteX10" fmla="*/ 790766 w 790892"/>
              <a:gd name="connsiteY10" fmla="*/ 261311 h 962541"/>
              <a:gd name="connsiteX11" fmla="*/ 790766 w 790892"/>
              <a:gd name="connsiteY11" fmla="*/ 295092 h 962541"/>
              <a:gd name="connsiteX12" fmla="*/ 790892 w 790892"/>
              <a:gd name="connsiteY12" fmla="*/ 364435 h 962541"/>
              <a:gd name="connsiteX13" fmla="*/ 790892 w 790892"/>
              <a:gd name="connsiteY13" fmla="*/ 938157 h 962541"/>
              <a:gd name="connsiteX14" fmla="*/ 766508 w 790892"/>
              <a:gd name="connsiteY14" fmla="*/ 962541 h 962541"/>
              <a:gd name="connsiteX15" fmla="*/ 676211 w 790892"/>
              <a:gd name="connsiteY15" fmla="*/ 962541 h 96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90892" h="962541">
                <a:moveTo>
                  <a:pt x="676211" y="962478"/>
                </a:moveTo>
                <a:lnTo>
                  <a:pt x="24892" y="962478"/>
                </a:lnTo>
                <a:cubicBezTo>
                  <a:pt x="11493" y="962478"/>
                  <a:pt x="444" y="951429"/>
                  <a:pt x="444" y="938030"/>
                </a:cubicBezTo>
                <a:cubicBezTo>
                  <a:pt x="127" y="673806"/>
                  <a:pt x="127" y="624277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8"/>
                  <a:pt x="4699" y="246642"/>
                  <a:pt x="11620" y="242261"/>
                </a:cubicBezTo>
                <a:cubicBezTo>
                  <a:pt x="64262" y="208732"/>
                  <a:pt x="288036" y="66048"/>
                  <a:pt x="388556" y="2421"/>
                </a:cubicBezTo>
                <a:cubicBezTo>
                  <a:pt x="393700" y="-818"/>
                  <a:pt x="400303" y="-818"/>
                  <a:pt x="405447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2"/>
                </a:lnTo>
                <a:cubicBezTo>
                  <a:pt x="790766" y="295092"/>
                  <a:pt x="790892" y="364435"/>
                  <a:pt x="790892" y="364435"/>
                </a:cubicBezTo>
                <a:lnTo>
                  <a:pt x="790892" y="938157"/>
                </a:lnTo>
                <a:cubicBezTo>
                  <a:pt x="790892" y="951619"/>
                  <a:pt x="779970" y="962541"/>
                  <a:pt x="766508" y="962541"/>
                </a:cubicBezTo>
                <a:lnTo>
                  <a:pt x="676211" y="962541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D4E06B4-BCDE-E193-5DD3-9529880AAB2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994" y="2825912"/>
            <a:ext cx="6764047" cy="719689"/>
          </a:xfrm>
        </p:spPr>
        <p:txBody>
          <a:bodyPr anchor="t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E452B0E-3B88-2456-FB13-B76AED013E6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97994" y="3549139"/>
            <a:ext cx="6764047" cy="528002"/>
          </a:xfrm>
        </p:spPr>
        <p:txBody>
          <a:bodyPr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Helvetica" pitchFamily="2" charset="0"/>
                <a:ea typeface="Bagoss Standard" panose="020B0504060102020204" pitchFamily="34" charset="77"/>
                <a:cs typeface="Bagoss Standard" panose="020B0504060102020204" pitchFamily="34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8780415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Pattern-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352C3B98-E4D1-46FD-39A7-0B7A4898A8F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0" y="15114"/>
            <a:ext cx="12192000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61232F8C-0A94-89C7-1814-69A7D866E55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5165" y="2371238"/>
            <a:ext cx="11701669" cy="719689"/>
          </a:xfrm>
        </p:spPr>
        <p:txBody>
          <a:bodyPr anchor="t">
            <a:noAutofit/>
          </a:bodyPr>
          <a:lstStyle>
            <a:lvl1pPr algn="ctr"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9767688-C852-D333-E5EC-16E66FB6C47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3999" y="3195226"/>
            <a:ext cx="9144000" cy="528002"/>
          </a:xfrm>
        </p:spPr>
        <p:txBody>
          <a:bodyPr/>
          <a:lstStyle>
            <a:lvl1pPr marL="0" indent="0" algn="ctr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Bagoss Standard" panose="020B0504060102020204" pitchFamily="34" charset="77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2" name="Picture 1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174BA52B-EE2B-25F9-2872-623D0DF87CA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3185" y="494837"/>
            <a:ext cx="1057081" cy="546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39958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-Pattern-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153A4BC6-7E8A-809D-2D8C-B0A522E6466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-1" y="1"/>
            <a:ext cx="12192000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12DF22C9-85A5-87F1-1854-5C7AE949342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5165" y="2371238"/>
            <a:ext cx="11701669" cy="719689"/>
          </a:xfrm>
        </p:spPr>
        <p:txBody>
          <a:bodyPr anchor="t">
            <a:noAutofit/>
          </a:bodyPr>
          <a:lstStyle>
            <a:lvl1pPr algn="ctr"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BC0EB8F4-E905-DB1E-41FF-5C464A677D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3999" y="3195226"/>
            <a:ext cx="9144000" cy="528002"/>
          </a:xfrm>
        </p:spPr>
        <p:txBody>
          <a:bodyPr/>
          <a:lstStyle>
            <a:lvl1pPr marL="0" indent="0" algn="ctr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Bagoss Standard" panose="020B0504060102020204" pitchFamily="34" charset="77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2" name="Picture 1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35ABF4A9-8064-764A-4621-F8B021781BE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3185" y="494837"/>
            <a:ext cx="1057081" cy="546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487397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>
            <a:extLst>
              <a:ext uri="{FF2B5EF4-FFF2-40B4-BE49-F238E27FC236}">
                <a16:creationId xmlns:a16="http://schemas.microsoft.com/office/drawing/2014/main" id="{257373F1-71A1-3C20-DC9F-D0F32C3C6395}"/>
              </a:ext>
            </a:extLst>
          </p:cNvPr>
          <p:cNvSpPr/>
          <p:nvPr userDrawn="1"/>
        </p:nvSpPr>
        <p:spPr>
          <a:xfrm>
            <a:off x="-1" y="-1"/>
            <a:ext cx="12192000" cy="6858000"/>
          </a:xfrm>
          <a:custGeom>
            <a:avLst/>
            <a:gdLst>
              <a:gd name="connsiteX0" fmla="*/ 245165 w 12192000"/>
              <a:gd name="connsiteY0" fmla="*/ 242472 h 6858000"/>
              <a:gd name="connsiteX1" fmla="*/ 245165 w 12192000"/>
              <a:gd name="connsiteY1" fmla="*/ 6615528 h 6858000"/>
              <a:gd name="connsiteX2" fmla="*/ 11470341 w 12192000"/>
              <a:gd name="connsiteY2" fmla="*/ 6615528 h 6858000"/>
              <a:gd name="connsiteX3" fmla="*/ 11470341 w 12192000"/>
              <a:gd name="connsiteY3" fmla="*/ 6212541 h 6858000"/>
              <a:gd name="connsiteX4" fmla="*/ 11936921 w 12192000"/>
              <a:gd name="connsiteY4" fmla="*/ 6212541 h 6858000"/>
              <a:gd name="connsiteX5" fmla="*/ 11936921 w 12192000"/>
              <a:gd name="connsiteY5" fmla="*/ 242472 h 6858000"/>
              <a:gd name="connsiteX6" fmla="*/ 0 w 12192000"/>
              <a:gd name="connsiteY6" fmla="*/ 0 h 6858000"/>
              <a:gd name="connsiteX7" fmla="*/ 12192000 w 12192000"/>
              <a:gd name="connsiteY7" fmla="*/ 0 h 6858000"/>
              <a:gd name="connsiteX8" fmla="*/ 12192000 w 12192000"/>
              <a:gd name="connsiteY8" fmla="*/ 6212541 h 6858000"/>
              <a:gd name="connsiteX9" fmla="*/ 12192000 w 12192000"/>
              <a:gd name="connsiteY9" fmla="*/ 6858000 h 6858000"/>
              <a:gd name="connsiteX10" fmla="*/ 11470341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245165" y="242472"/>
                </a:moveTo>
                <a:lnTo>
                  <a:pt x="245165" y="6615528"/>
                </a:lnTo>
                <a:lnTo>
                  <a:pt x="11470341" y="6615528"/>
                </a:lnTo>
                <a:lnTo>
                  <a:pt x="11470341" y="6212541"/>
                </a:lnTo>
                <a:lnTo>
                  <a:pt x="11936921" y="6212541"/>
                </a:lnTo>
                <a:lnTo>
                  <a:pt x="11936921" y="24247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212541"/>
                </a:lnTo>
                <a:lnTo>
                  <a:pt x="12192000" y="6858000"/>
                </a:lnTo>
                <a:lnTo>
                  <a:pt x="1147034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97317161-2CD7-7DFA-011F-A55C360C705F}"/>
              </a:ext>
            </a:extLst>
          </p:cNvPr>
          <p:cNvSpPr/>
          <p:nvPr userDrawn="1"/>
        </p:nvSpPr>
        <p:spPr>
          <a:xfrm>
            <a:off x="8917401" y="2927688"/>
            <a:ext cx="3019519" cy="3674852"/>
          </a:xfrm>
          <a:custGeom>
            <a:avLst/>
            <a:gdLst>
              <a:gd name="connsiteX0" fmla="*/ 676211 w 790892"/>
              <a:gd name="connsiteY0" fmla="*/ 962478 h 962541"/>
              <a:gd name="connsiteX1" fmla="*/ 24892 w 790892"/>
              <a:gd name="connsiteY1" fmla="*/ 962478 h 962541"/>
              <a:gd name="connsiteX2" fmla="*/ 444 w 790892"/>
              <a:gd name="connsiteY2" fmla="*/ 938030 h 962541"/>
              <a:gd name="connsiteX3" fmla="*/ 127 w 790892"/>
              <a:gd name="connsiteY3" fmla="*/ 366593 h 962541"/>
              <a:gd name="connsiteX4" fmla="*/ 0 w 790892"/>
              <a:gd name="connsiteY4" fmla="*/ 304744 h 962541"/>
              <a:gd name="connsiteX5" fmla="*/ 0 w 790892"/>
              <a:gd name="connsiteY5" fmla="*/ 262390 h 962541"/>
              <a:gd name="connsiteX6" fmla="*/ 11620 w 790892"/>
              <a:gd name="connsiteY6" fmla="*/ 242261 h 962541"/>
              <a:gd name="connsiteX7" fmla="*/ 388556 w 790892"/>
              <a:gd name="connsiteY7" fmla="*/ 2421 h 962541"/>
              <a:gd name="connsiteX8" fmla="*/ 405447 w 790892"/>
              <a:gd name="connsiteY8" fmla="*/ 2485 h 962541"/>
              <a:gd name="connsiteX9" fmla="*/ 779780 w 790892"/>
              <a:gd name="connsiteY9" fmla="*/ 242578 h 962541"/>
              <a:gd name="connsiteX10" fmla="*/ 790766 w 790892"/>
              <a:gd name="connsiteY10" fmla="*/ 261311 h 962541"/>
              <a:gd name="connsiteX11" fmla="*/ 790766 w 790892"/>
              <a:gd name="connsiteY11" fmla="*/ 295092 h 962541"/>
              <a:gd name="connsiteX12" fmla="*/ 790892 w 790892"/>
              <a:gd name="connsiteY12" fmla="*/ 364435 h 962541"/>
              <a:gd name="connsiteX13" fmla="*/ 790892 w 790892"/>
              <a:gd name="connsiteY13" fmla="*/ 938157 h 962541"/>
              <a:gd name="connsiteX14" fmla="*/ 766508 w 790892"/>
              <a:gd name="connsiteY14" fmla="*/ 962541 h 962541"/>
              <a:gd name="connsiteX15" fmla="*/ 676211 w 790892"/>
              <a:gd name="connsiteY15" fmla="*/ 962541 h 96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90892" h="962541">
                <a:moveTo>
                  <a:pt x="676211" y="962478"/>
                </a:moveTo>
                <a:lnTo>
                  <a:pt x="24892" y="962478"/>
                </a:lnTo>
                <a:cubicBezTo>
                  <a:pt x="11493" y="962478"/>
                  <a:pt x="444" y="951429"/>
                  <a:pt x="444" y="938030"/>
                </a:cubicBezTo>
                <a:cubicBezTo>
                  <a:pt x="127" y="673806"/>
                  <a:pt x="127" y="624277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8"/>
                  <a:pt x="4699" y="246642"/>
                  <a:pt x="11620" y="242261"/>
                </a:cubicBezTo>
                <a:cubicBezTo>
                  <a:pt x="64262" y="208732"/>
                  <a:pt x="288036" y="66048"/>
                  <a:pt x="388556" y="2421"/>
                </a:cubicBezTo>
                <a:cubicBezTo>
                  <a:pt x="393700" y="-818"/>
                  <a:pt x="400303" y="-818"/>
                  <a:pt x="405447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2"/>
                </a:lnTo>
                <a:cubicBezTo>
                  <a:pt x="790766" y="295092"/>
                  <a:pt x="790892" y="364435"/>
                  <a:pt x="790892" y="364435"/>
                </a:cubicBezTo>
                <a:lnTo>
                  <a:pt x="790892" y="938157"/>
                </a:lnTo>
                <a:cubicBezTo>
                  <a:pt x="790892" y="951619"/>
                  <a:pt x="779970" y="962541"/>
                  <a:pt x="766508" y="962541"/>
                </a:cubicBezTo>
                <a:lnTo>
                  <a:pt x="676211" y="962541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582EB5B-084C-DCFD-141C-6E9AF1C450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994" y="2825912"/>
            <a:ext cx="6764047" cy="719689"/>
          </a:xfrm>
        </p:spPr>
        <p:txBody>
          <a:bodyPr anchor="t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A1332AA-01BD-4DB9-F2AF-DD4CA84D3B3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97993" y="4199453"/>
            <a:ext cx="6764047" cy="528002"/>
          </a:xfrm>
        </p:spPr>
        <p:txBody>
          <a:bodyPr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Bagoss Standard" panose="020B0504060102020204" pitchFamily="34" charset="77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2" name="Picture 1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128728B9-2E87-EC3B-F1E8-E1EB6C3610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185" y="494837"/>
            <a:ext cx="1057081" cy="546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202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-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1C625431-9E2B-4C54-D4A1-FBD287B9FB02}"/>
              </a:ext>
            </a:extLst>
          </p:cNvPr>
          <p:cNvSpPr/>
          <p:nvPr userDrawn="1"/>
        </p:nvSpPr>
        <p:spPr>
          <a:xfrm>
            <a:off x="-1" y="-1"/>
            <a:ext cx="12192000" cy="6858000"/>
          </a:xfrm>
          <a:custGeom>
            <a:avLst/>
            <a:gdLst>
              <a:gd name="connsiteX0" fmla="*/ 245165 w 12192000"/>
              <a:gd name="connsiteY0" fmla="*/ 242472 h 6858000"/>
              <a:gd name="connsiteX1" fmla="*/ 245165 w 12192000"/>
              <a:gd name="connsiteY1" fmla="*/ 6615528 h 6858000"/>
              <a:gd name="connsiteX2" fmla="*/ 11470341 w 12192000"/>
              <a:gd name="connsiteY2" fmla="*/ 6615528 h 6858000"/>
              <a:gd name="connsiteX3" fmla="*/ 11470341 w 12192000"/>
              <a:gd name="connsiteY3" fmla="*/ 6212541 h 6858000"/>
              <a:gd name="connsiteX4" fmla="*/ 11936921 w 12192000"/>
              <a:gd name="connsiteY4" fmla="*/ 6212541 h 6858000"/>
              <a:gd name="connsiteX5" fmla="*/ 11936921 w 12192000"/>
              <a:gd name="connsiteY5" fmla="*/ 242472 h 6858000"/>
              <a:gd name="connsiteX6" fmla="*/ 0 w 12192000"/>
              <a:gd name="connsiteY6" fmla="*/ 0 h 6858000"/>
              <a:gd name="connsiteX7" fmla="*/ 12192000 w 12192000"/>
              <a:gd name="connsiteY7" fmla="*/ 0 h 6858000"/>
              <a:gd name="connsiteX8" fmla="*/ 12192000 w 12192000"/>
              <a:gd name="connsiteY8" fmla="*/ 6212541 h 6858000"/>
              <a:gd name="connsiteX9" fmla="*/ 12192000 w 12192000"/>
              <a:gd name="connsiteY9" fmla="*/ 6858000 h 6858000"/>
              <a:gd name="connsiteX10" fmla="*/ 11470341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245165" y="242472"/>
                </a:moveTo>
                <a:lnTo>
                  <a:pt x="245165" y="6615528"/>
                </a:lnTo>
                <a:lnTo>
                  <a:pt x="11470341" y="6615528"/>
                </a:lnTo>
                <a:lnTo>
                  <a:pt x="11470341" y="6212541"/>
                </a:lnTo>
                <a:lnTo>
                  <a:pt x="11936921" y="6212541"/>
                </a:lnTo>
                <a:lnTo>
                  <a:pt x="11936921" y="24247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212541"/>
                </a:lnTo>
                <a:lnTo>
                  <a:pt x="12192000" y="6858000"/>
                </a:lnTo>
                <a:lnTo>
                  <a:pt x="1147034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97317161-2CD7-7DFA-011F-A55C360C705F}"/>
              </a:ext>
            </a:extLst>
          </p:cNvPr>
          <p:cNvSpPr/>
          <p:nvPr userDrawn="1"/>
        </p:nvSpPr>
        <p:spPr>
          <a:xfrm>
            <a:off x="8917401" y="2927688"/>
            <a:ext cx="3019519" cy="3674852"/>
          </a:xfrm>
          <a:custGeom>
            <a:avLst/>
            <a:gdLst>
              <a:gd name="connsiteX0" fmla="*/ 676211 w 790892"/>
              <a:gd name="connsiteY0" fmla="*/ 962478 h 962541"/>
              <a:gd name="connsiteX1" fmla="*/ 24892 w 790892"/>
              <a:gd name="connsiteY1" fmla="*/ 962478 h 962541"/>
              <a:gd name="connsiteX2" fmla="*/ 444 w 790892"/>
              <a:gd name="connsiteY2" fmla="*/ 938030 h 962541"/>
              <a:gd name="connsiteX3" fmla="*/ 127 w 790892"/>
              <a:gd name="connsiteY3" fmla="*/ 366593 h 962541"/>
              <a:gd name="connsiteX4" fmla="*/ 0 w 790892"/>
              <a:gd name="connsiteY4" fmla="*/ 304744 h 962541"/>
              <a:gd name="connsiteX5" fmla="*/ 0 w 790892"/>
              <a:gd name="connsiteY5" fmla="*/ 262390 h 962541"/>
              <a:gd name="connsiteX6" fmla="*/ 11620 w 790892"/>
              <a:gd name="connsiteY6" fmla="*/ 242261 h 962541"/>
              <a:gd name="connsiteX7" fmla="*/ 388556 w 790892"/>
              <a:gd name="connsiteY7" fmla="*/ 2421 h 962541"/>
              <a:gd name="connsiteX8" fmla="*/ 405447 w 790892"/>
              <a:gd name="connsiteY8" fmla="*/ 2485 h 962541"/>
              <a:gd name="connsiteX9" fmla="*/ 779780 w 790892"/>
              <a:gd name="connsiteY9" fmla="*/ 242578 h 962541"/>
              <a:gd name="connsiteX10" fmla="*/ 790766 w 790892"/>
              <a:gd name="connsiteY10" fmla="*/ 261311 h 962541"/>
              <a:gd name="connsiteX11" fmla="*/ 790766 w 790892"/>
              <a:gd name="connsiteY11" fmla="*/ 295092 h 962541"/>
              <a:gd name="connsiteX12" fmla="*/ 790892 w 790892"/>
              <a:gd name="connsiteY12" fmla="*/ 364435 h 962541"/>
              <a:gd name="connsiteX13" fmla="*/ 790892 w 790892"/>
              <a:gd name="connsiteY13" fmla="*/ 938157 h 962541"/>
              <a:gd name="connsiteX14" fmla="*/ 766508 w 790892"/>
              <a:gd name="connsiteY14" fmla="*/ 962541 h 962541"/>
              <a:gd name="connsiteX15" fmla="*/ 676211 w 790892"/>
              <a:gd name="connsiteY15" fmla="*/ 962541 h 96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90892" h="962541">
                <a:moveTo>
                  <a:pt x="676211" y="962478"/>
                </a:moveTo>
                <a:lnTo>
                  <a:pt x="24892" y="962478"/>
                </a:lnTo>
                <a:cubicBezTo>
                  <a:pt x="11493" y="962478"/>
                  <a:pt x="444" y="951429"/>
                  <a:pt x="444" y="938030"/>
                </a:cubicBezTo>
                <a:cubicBezTo>
                  <a:pt x="127" y="673806"/>
                  <a:pt x="127" y="624277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8"/>
                  <a:pt x="4699" y="246642"/>
                  <a:pt x="11620" y="242261"/>
                </a:cubicBezTo>
                <a:cubicBezTo>
                  <a:pt x="64262" y="208732"/>
                  <a:pt x="288036" y="66048"/>
                  <a:pt x="388556" y="2421"/>
                </a:cubicBezTo>
                <a:cubicBezTo>
                  <a:pt x="393700" y="-818"/>
                  <a:pt x="400303" y="-818"/>
                  <a:pt x="405447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2"/>
                </a:lnTo>
                <a:cubicBezTo>
                  <a:pt x="790766" y="295092"/>
                  <a:pt x="790892" y="364435"/>
                  <a:pt x="790892" y="364435"/>
                </a:cubicBezTo>
                <a:lnTo>
                  <a:pt x="790892" y="938157"/>
                </a:lnTo>
                <a:cubicBezTo>
                  <a:pt x="790892" y="951619"/>
                  <a:pt x="779970" y="962541"/>
                  <a:pt x="766508" y="962541"/>
                </a:cubicBezTo>
                <a:lnTo>
                  <a:pt x="676211" y="962541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D4E06B4-BCDE-E193-5DD3-9529880AAB2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994" y="2825912"/>
            <a:ext cx="6764047" cy="719689"/>
          </a:xfrm>
        </p:spPr>
        <p:txBody>
          <a:bodyPr anchor="t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403D34E-FD83-5B00-7347-43D58414054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97993" y="4199453"/>
            <a:ext cx="6764047" cy="528002"/>
          </a:xfrm>
        </p:spPr>
        <p:txBody>
          <a:bodyPr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Bagoss Standard" panose="020B0504060102020204" pitchFamily="34" charset="77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3" name="Picture 2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16A5207F-374A-182C-2AD3-703BB31CDC1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185" y="494837"/>
            <a:ext cx="1057081" cy="546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72502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5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27E7597D-23CD-18B4-3544-1C1373EEDDCE}"/>
              </a:ext>
            </a:extLst>
          </p:cNvPr>
          <p:cNvSpPr/>
          <p:nvPr userDrawn="1"/>
        </p:nvSpPr>
        <p:spPr>
          <a:xfrm>
            <a:off x="-1" y="-1"/>
            <a:ext cx="12192000" cy="6858000"/>
          </a:xfrm>
          <a:custGeom>
            <a:avLst/>
            <a:gdLst>
              <a:gd name="connsiteX0" fmla="*/ 245165 w 12192000"/>
              <a:gd name="connsiteY0" fmla="*/ 242472 h 6858000"/>
              <a:gd name="connsiteX1" fmla="*/ 245165 w 12192000"/>
              <a:gd name="connsiteY1" fmla="*/ 6615528 h 6858000"/>
              <a:gd name="connsiteX2" fmla="*/ 11470341 w 12192000"/>
              <a:gd name="connsiteY2" fmla="*/ 6615528 h 6858000"/>
              <a:gd name="connsiteX3" fmla="*/ 11470341 w 12192000"/>
              <a:gd name="connsiteY3" fmla="*/ 6212541 h 6858000"/>
              <a:gd name="connsiteX4" fmla="*/ 11936921 w 12192000"/>
              <a:gd name="connsiteY4" fmla="*/ 6212541 h 6858000"/>
              <a:gd name="connsiteX5" fmla="*/ 11936921 w 12192000"/>
              <a:gd name="connsiteY5" fmla="*/ 242472 h 6858000"/>
              <a:gd name="connsiteX6" fmla="*/ 0 w 12192000"/>
              <a:gd name="connsiteY6" fmla="*/ 0 h 6858000"/>
              <a:gd name="connsiteX7" fmla="*/ 12192000 w 12192000"/>
              <a:gd name="connsiteY7" fmla="*/ 0 h 6858000"/>
              <a:gd name="connsiteX8" fmla="*/ 12192000 w 12192000"/>
              <a:gd name="connsiteY8" fmla="*/ 6212541 h 6858000"/>
              <a:gd name="connsiteX9" fmla="*/ 12192000 w 12192000"/>
              <a:gd name="connsiteY9" fmla="*/ 6858000 h 6858000"/>
              <a:gd name="connsiteX10" fmla="*/ 11470341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245165" y="242472"/>
                </a:moveTo>
                <a:lnTo>
                  <a:pt x="245165" y="6615528"/>
                </a:lnTo>
                <a:lnTo>
                  <a:pt x="11470341" y="6615528"/>
                </a:lnTo>
                <a:lnTo>
                  <a:pt x="11470341" y="6212541"/>
                </a:lnTo>
                <a:lnTo>
                  <a:pt x="11936921" y="6212541"/>
                </a:lnTo>
                <a:lnTo>
                  <a:pt x="11936921" y="24247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212541"/>
                </a:lnTo>
                <a:lnTo>
                  <a:pt x="12192000" y="6858000"/>
                </a:lnTo>
                <a:lnTo>
                  <a:pt x="1147034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97317161-2CD7-7DFA-011F-A55C360C705F}"/>
              </a:ext>
            </a:extLst>
          </p:cNvPr>
          <p:cNvSpPr/>
          <p:nvPr userDrawn="1"/>
        </p:nvSpPr>
        <p:spPr>
          <a:xfrm>
            <a:off x="8917401" y="2927688"/>
            <a:ext cx="3019519" cy="3674852"/>
          </a:xfrm>
          <a:custGeom>
            <a:avLst/>
            <a:gdLst>
              <a:gd name="connsiteX0" fmla="*/ 676211 w 790892"/>
              <a:gd name="connsiteY0" fmla="*/ 962478 h 962541"/>
              <a:gd name="connsiteX1" fmla="*/ 24892 w 790892"/>
              <a:gd name="connsiteY1" fmla="*/ 962478 h 962541"/>
              <a:gd name="connsiteX2" fmla="*/ 444 w 790892"/>
              <a:gd name="connsiteY2" fmla="*/ 938030 h 962541"/>
              <a:gd name="connsiteX3" fmla="*/ 127 w 790892"/>
              <a:gd name="connsiteY3" fmla="*/ 366593 h 962541"/>
              <a:gd name="connsiteX4" fmla="*/ 0 w 790892"/>
              <a:gd name="connsiteY4" fmla="*/ 304744 h 962541"/>
              <a:gd name="connsiteX5" fmla="*/ 0 w 790892"/>
              <a:gd name="connsiteY5" fmla="*/ 262390 h 962541"/>
              <a:gd name="connsiteX6" fmla="*/ 11620 w 790892"/>
              <a:gd name="connsiteY6" fmla="*/ 242261 h 962541"/>
              <a:gd name="connsiteX7" fmla="*/ 388556 w 790892"/>
              <a:gd name="connsiteY7" fmla="*/ 2421 h 962541"/>
              <a:gd name="connsiteX8" fmla="*/ 405447 w 790892"/>
              <a:gd name="connsiteY8" fmla="*/ 2485 h 962541"/>
              <a:gd name="connsiteX9" fmla="*/ 779780 w 790892"/>
              <a:gd name="connsiteY9" fmla="*/ 242578 h 962541"/>
              <a:gd name="connsiteX10" fmla="*/ 790766 w 790892"/>
              <a:gd name="connsiteY10" fmla="*/ 261311 h 962541"/>
              <a:gd name="connsiteX11" fmla="*/ 790766 w 790892"/>
              <a:gd name="connsiteY11" fmla="*/ 295092 h 962541"/>
              <a:gd name="connsiteX12" fmla="*/ 790892 w 790892"/>
              <a:gd name="connsiteY12" fmla="*/ 364435 h 962541"/>
              <a:gd name="connsiteX13" fmla="*/ 790892 w 790892"/>
              <a:gd name="connsiteY13" fmla="*/ 938157 h 962541"/>
              <a:gd name="connsiteX14" fmla="*/ 766508 w 790892"/>
              <a:gd name="connsiteY14" fmla="*/ 962541 h 962541"/>
              <a:gd name="connsiteX15" fmla="*/ 676211 w 790892"/>
              <a:gd name="connsiteY15" fmla="*/ 962541 h 96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90892" h="962541">
                <a:moveTo>
                  <a:pt x="676211" y="962478"/>
                </a:moveTo>
                <a:lnTo>
                  <a:pt x="24892" y="962478"/>
                </a:lnTo>
                <a:cubicBezTo>
                  <a:pt x="11493" y="962478"/>
                  <a:pt x="444" y="951429"/>
                  <a:pt x="444" y="938030"/>
                </a:cubicBezTo>
                <a:cubicBezTo>
                  <a:pt x="127" y="673806"/>
                  <a:pt x="127" y="624277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8"/>
                  <a:pt x="4699" y="246642"/>
                  <a:pt x="11620" y="242261"/>
                </a:cubicBezTo>
                <a:cubicBezTo>
                  <a:pt x="64262" y="208732"/>
                  <a:pt x="288036" y="66048"/>
                  <a:pt x="388556" y="2421"/>
                </a:cubicBezTo>
                <a:cubicBezTo>
                  <a:pt x="393700" y="-818"/>
                  <a:pt x="400303" y="-818"/>
                  <a:pt x="405447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2"/>
                </a:lnTo>
                <a:cubicBezTo>
                  <a:pt x="790766" y="295092"/>
                  <a:pt x="790892" y="364435"/>
                  <a:pt x="790892" y="364435"/>
                </a:cubicBezTo>
                <a:lnTo>
                  <a:pt x="790892" y="938157"/>
                </a:lnTo>
                <a:cubicBezTo>
                  <a:pt x="790892" y="951619"/>
                  <a:pt x="779970" y="962541"/>
                  <a:pt x="766508" y="962541"/>
                </a:cubicBezTo>
                <a:lnTo>
                  <a:pt x="676211" y="962541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744301-57D9-3466-4667-3834E0033A5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994" y="2825912"/>
            <a:ext cx="6764047" cy="719689"/>
          </a:xfrm>
        </p:spPr>
        <p:txBody>
          <a:bodyPr anchor="t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801E7443-E1F2-8C26-0395-BD9D098426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97993" y="4199453"/>
            <a:ext cx="6764047" cy="528002"/>
          </a:xfrm>
        </p:spPr>
        <p:txBody>
          <a:bodyPr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Bagoss Standard" panose="020B0504060102020204" pitchFamily="34" charset="77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3" name="Picture 2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02831A7C-66B0-F5CD-4D79-3DD5FCA3949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185" y="494837"/>
            <a:ext cx="1057081" cy="546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0229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856936"/>
            <a:ext cx="10363200" cy="89735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07435" y="2632000"/>
            <a:ext cx="8739880" cy="292038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1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AC5AE75-9516-6951-67CE-8113CE882E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206" y="5625802"/>
            <a:ext cx="10115550" cy="92392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DAA03A3-4D84-997E-753D-449001F471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30573" y="5731608"/>
            <a:ext cx="837793" cy="837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51753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6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647C08BF-8AB0-C058-0867-F7D1F0A4ACA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185" y="494837"/>
            <a:ext cx="1057081" cy="546863"/>
          </a:xfrm>
          <a:prstGeom prst="rect">
            <a:avLst/>
          </a:prstGeom>
        </p:spPr>
      </p:pic>
      <p:sp>
        <p:nvSpPr>
          <p:cNvPr id="5" name="Freeform 4">
            <a:extLst>
              <a:ext uri="{FF2B5EF4-FFF2-40B4-BE49-F238E27FC236}">
                <a16:creationId xmlns:a16="http://schemas.microsoft.com/office/drawing/2014/main" id="{8B519E95-7500-BEB9-3977-17B14F3B9730}"/>
              </a:ext>
            </a:extLst>
          </p:cNvPr>
          <p:cNvSpPr/>
          <p:nvPr userDrawn="1"/>
        </p:nvSpPr>
        <p:spPr>
          <a:xfrm>
            <a:off x="-1" y="-1"/>
            <a:ext cx="12192000" cy="6858000"/>
          </a:xfrm>
          <a:custGeom>
            <a:avLst/>
            <a:gdLst>
              <a:gd name="connsiteX0" fmla="*/ 245165 w 12192000"/>
              <a:gd name="connsiteY0" fmla="*/ 242472 h 6858000"/>
              <a:gd name="connsiteX1" fmla="*/ 245165 w 12192000"/>
              <a:gd name="connsiteY1" fmla="*/ 6615528 h 6858000"/>
              <a:gd name="connsiteX2" fmla="*/ 11470341 w 12192000"/>
              <a:gd name="connsiteY2" fmla="*/ 6615528 h 6858000"/>
              <a:gd name="connsiteX3" fmla="*/ 11470341 w 12192000"/>
              <a:gd name="connsiteY3" fmla="*/ 6212541 h 6858000"/>
              <a:gd name="connsiteX4" fmla="*/ 11936921 w 12192000"/>
              <a:gd name="connsiteY4" fmla="*/ 6212541 h 6858000"/>
              <a:gd name="connsiteX5" fmla="*/ 11936921 w 12192000"/>
              <a:gd name="connsiteY5" fmla="*/ 242472 h 6858000"/>
              <a:gd name="connsiteX6" fmla="*/ 0 w 12192000"/>
              <a:gd name="connsiteY6" fmla="*/ 0 h 6858000"/>
              <a:gd name="connsiteX7" fmla="*/ 12192000 w 12192000"/>
              <a:gd name="connsiteY7" fmla="*/ 0 h 6858000"/>
              <a:gd name="connsiteX8" fmla="*/ 12192000 w 12192000"/>
              <a:gd name="connsiteY8" fmla="*/ 6212541 h 6858000"/>
              <a:gd name="connsiteX9" fmla="*/ 12192000 w 12192000"/>
              <a:gd name="connsiteY9" fmla="*/ 6858000 h 6858000"/>
              <a:gd name="connsiteX10" fmla="*/ 11470341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245165" y="242472"/>
                </a:moveTo>
                <a:lnTo>
                  <a:pt x="245165" y="6615528"/>
                </a:lnTo>
                <a:lnTo>
                  <a:pt x="11470341" y="6615528"/>
                </a:lnTo>
                <a:lnTo>
                  <a:pt x="11470341" y="6212541"/>
                </a:lnTo>
                <a:lnTo>
                  <a:pt x="11936921" y="6212541"/>
                </a:lnTo>
                <a:lnTo>
                  <a:pt x="11936921" y="24247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212541"/>
                </a:lnTo>
                <a:lnTo>
                  <a:pt x="12192000" y="6858000"/>
                </a:lnTo>
                <a:lnTo>
                  <a:pt x="1147034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97317161-2CD7-7DFA-011F-A55C360C705F}"/>
              </a:ext>
            </a:extLst>
          </p:cNvPr>
          <p:cNvSpPr/>
          <p:nvPr userDrawn="1"/>
        </p:nvSpPr>
        <p:spPr>
          <a:xfrm>
            <a:off x="8917401" y="2927688"/>
            <a:ext cx="3019519" cy="3674852"/>
          </a:xfrm>
          <a:custGeom>
            <a:avLst/>
            <a:gdLst>
              <a:gd name="connsiteX0" fmla="*/ 676211 w 790892"/>
              <a:gd name="connsiteY0" fmla="*/ 962478 h 962541"/>
              <a:gd name="connsiteX1" fmla="*/ 24892 w 790892"/>
              <a:gd name="connsiteY1" fmla="*/ 962478 h 962541"/>
              <a:gd name="connsiteX2" fmla="*/ 444 w 790892"/>
              <a:gd name="connsiteY2" fmla="*/ 938030 h 962541"/>
              <a:gd name="connsiteX3" fmla="*/ 127 w 790892"/>
              <a:gd name="connsiteY3" fmla="*/ 366593 h 962541"/>
              <a:gd name="connsiteX4" fmla="*/ 0 w 790892"/>
              <a:gd name="connsiteY4" fmla="*/ 304744 h 962541"/>
              <a:gd name="connsiteX5" fmla="*/ 0 w 790892"/>
              <a:gd name="connsiteY5" fmla="*/ 262390 h 962541"/>
              <a:gd name="connsiteX6" fmla="*/ 11620 w 790892"/>
              <a:gd name="connsiteY6" fmla="*/ 242261 h 962541"/>
              <a:gd name="connsiteX7" fmla="*/ 388556 w 790892"/>
              <a:gd name="connsiteY7" fmla="*/ 2421 h 962541"/>
              <a:gd name="connsiteX8" fmla="*/ 405447 w 790892"/>
              <a:gd name="connsiteY8" fmla="*/ 2485 h 962541"/>
              <a:gd name="connsiteX9" fmla="*/ 779780 w 790892"/>
              <a:gd name="connsiteY9" fmla="*/ 242578 h 962541"/>
              <a:gd name="connsiteX10" fmla="*/ 790766 w 790892"/>
              <a:gd name="connsiteY10" fmla="*/ 261311 h 962541"/>
              <a:gd name="connsiteX11" fmla="*/ 790766 w 790892"/>
              <a:gd name="connsiteY11" fmla="*/ 295092 h 962541"/>
              <a:gd name="connsiteX12" fmla="*/ 790892 w 790892"/>
              <a:gd name="connsiteY12" fmla="*/ 364435 h 962541"/>
              <a:gd name="connsiteX13" fmla="*/ 790892 w 790892"/>
              <a:gd name="connsiteY13" fmla="*/ 938157 h 962541"/>
              <a:gd name="connsiteX14" fmla="*/ 766508 w 790892"/>
              <a:gd name="connsiteY14" fmla="*/ 962541 h 962541"/>
              <a:gd name="connsiteX15" fmla="*/ 676211 w 790892"/>
              <a:gd name="connsiteY15" fmla="*/ 962541 h 96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90892" h="962541">
                <a:moveTo>
                  <a:pt x="676211" y="962478"/>
                </a:moveTo>
                <a:lnTo>
                  <a:pt x="24892" y="962478"/>
                </a:lnTo>
                <a:cubicBezTo>
                  <a:pt x="11493" y="962478"/>
                  <a:pt x="444" y="951429"/>
                  <a:pt x="444" y="938030"/>
                </a:cubicBezTo>
                <a:cubicBezTo>
                  <a:pt x="127" y="673806"/>
                  <a:pt x="127" y="624277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8"/>
                  <a:pt x="4699" y="246642"/>
                  <a:pt x="11620" y="242261"/>
                </a:cubicBezTo>
                <a:cubicBezTo>
                  <a:pt x="64262" y="208732"/>
                  <a:pt x="288036" y="66048"/>
                  <a:pt x="388556" y="2421"/>
                </a:cubicBezTo>
                <a:cubicBezTo>
                  <a:pt x="393700" y="-818"/>
                  <a:pt x="400303" y="-818"/>
                  <a:pt x="405447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2"/>
                </a:lnTo>
                <a:cubicBezTo>
                  <a:pt x="790766" y="295092"/>
                  <a:pt x="790892" y="364435"/>
                  <a:pt x="790892" y="364435"/>
                </a:cubicBezTo>
                <a:lnTo>
                  <a:pt x="790892" y="938157"/>
                </a:lnTo>
                <a:cubicBezTo>
                  <a:pt x="790892" y="951619"/>
                  <a:pt x="779970" y="962541"/>
                  <a:pt x="766508" y="962541"/>
                </a:cubicBezTo>
                <a:lnTo>
                  <a:pt x="676211" y="962541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344FC1-E56C-4BE0-52E6-B6002A5DF94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994" y="2825912"/>
            <a:ext cx="6764047" cy="719689"/>
          </a:xfrm>
        </p:spPr>
        <p:txBody>
          <a:bodyPr anchor="t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0A033BB-F8EE-135E-11B2-F088BEBED1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97993" y="4199453"/>
            <a:ext cx="6764047" cy="528002"/>
          </a:xfrm>
        </p:spPr>
        <p:txBody>
          <a:bodyPr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Bagoss Standard" panose="020B0504060102020204" pitchFamily="34" charset="77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220188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7">
    <p:bg>
      <p:bgPr>
        <a:solidFill>
          <a:srgbClr val="BAE1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>
            <a:extLst>
              <a:ext uri="{FF2B5EF4-FFF2-40B4-BE49-F238E27FC236}">
                <a16:creationId xmlns:a16="http://schemas.microsoft.com/office/drawing/2014/main" id="{FE1ABC8E-BB98-C919-E6BC-AA7B39186957}"/>
              </a:ext>
            </a:extLst>
          </p:cNvPr>
          <p:cNvSpPr/>
          <p:nvPr userDrawn="1"/>
        </p:nvSpPr>
        <p:spPr>
          <a:xfrm>
            <a:off x="-1" y="-1"/>
            <a:ext cx="12192000" cy="6858000"/>
          </a:xfrm>
          <a:custGeom>
            <a:avLst/>
            <a:gdLst>
              <a:gd name="connsiteX0" fmla="*/ 245165 w 12192000"/>
              <a:gd name="connsiteY0" fmla="*/ 242472 h 6858000"/>
              <a:gd name="connsiteX1" fmla="*/ 245165 w 12192000"/>
              <a:gd name="connsiteY1" fmla="*/ 6615528 h 6858000"/>
              <a:gd name="connsiteX2" fmla="*/ 11470341 w 12192000"/>
              <a:gd name="connsiteY2" fmla="*/ 6615528 h 6858000"/>
              <a:gd name="connsiteX3" fmla="*/ 11470341 w 12192000"/>
              <a:gd name="connsiteY3" fmla="*/ 6212541 h 6858000"/>
              <a:gd name="connsiteX4" fmla="*/ 11936921 w 12192000"/>
              <a:gd name="connsiteY4" fmla="*/ 6212541 h 6858000"/>
              <a:gd name="connsiteX5" fmla="*/ 11936921 w 12192000"/>
              <a:gd name="connsiteY5" fmla="*/ 242472 h 6858000"/>
              <a:gd name="connsiteX6" fmla="*/ 0 w 12192000"/>
              <a:gd name="connsiteY6" fmla="*/ 0 h 6858000"/>
              <a:gd name="connsiteX7" fmla="*/ 12192000 w 12192000"/>
              <a:gd name="connsiteY7" fmla="*/ 0 h 6858000"/>
              <a:gd name="connsiteX8" fmla="*/ 12192000 w 12192000"/>
              <a:gd name="connsiteY8" fmla="*/ 6212541 h 6858000"/>
              <a:gd name="connsiteX9" fmla="*/ 12192000 w 12192000"/>
              <a:gd name="connsiteY9" fmla="*/ 6858000 h 6858000"/>
              <a:gd name="connsiteX10" fmla="*/ 11470341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245165" y="242472"/>
                </a:moveTo>
                <a:lnTo>
                  <a:pt x="245165" y="6615528"/>
                </a:lnTo>
                <a:lnTo>
                  <a:pt x="11470341" y="6615528"/>
                </a:lnTo>
                <a:lnTo>
                  <a:pt x="11470341" y="6212541"/>
                </a:lnTo>
                <a:lnTo>
                  <a:pt x="11936921" y="6212541"/>
                </a:lnTo>
                <a:lnTo>
                  <a:pt x="11936921" y="24247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212541"/>
                </a:lnTo>
                <a:lnTo>
                  <a:pt x="12192000" y="6858000"/>
                </a:lnTo>
                <a:lnTo>
                  <a:pt x="1147034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97317161-2CD7-7DFA-011F-A55C360C705F}"/>
              </a:ext>
            </a:extLst>
          </p:cNvPr>
          <p:cNvSpPr/>
          <p:nvPr userDrawn="1"/>
        </p:nvSpPr>
        <p:spPr>
          <a:xfrm>
            <a:off x="8917401" y="2927688"/>
            <a:ext cx="3019519" cy="3674852"/>
          </a:xfrm>
          <a:custGeom>
            <a:avLst/>
            <a:gdLst>
              <a:gd name="connsiteX0" fmla="*/ 676211 w 790892"/>
              <a:gd name="connsiteY0" fmla="*/ 962478 h 962541"/>
              <a:gd name="connsiteX1" fmla="*/ 24892 w 790892"/>
              <a:gd name="connsiteY1" fmla="*/ 962478 h 962541"/>
              <a:gd name="connsiteX2" fmla="*/ 444 w 790892"/>
              <a:gd name="connsiteY2" fmla="*/ 938030 h 962541"/>
              <a:gd name="connsiteX3" fmla="*/ 127 w 790892"/>
              <a:gd name="connsiteY3" fmla="*/ 366593 h 962541"/>
              <a:gd name="connsiteX4" fmla="*/ 0 w 790892"/>
              <a:gd name="connsiteY4" fmla="*/ 304744 h 962541"/>
              <a:gd name="connsiteX5" fmla="*/ 0 w 790892"/>
              <a:gd name="connsiteY5" fmla="*/ 262390 h 962541"/>
              <a:gd name="connsiteX6" fmla="*/ 11620 w 790892"/>
              <a:gd name="connsiteY6" fmla="*/ 242261 h 962541"/>
              <a:gd name="connsiteX7" fmla="*/ 388556 w 790892"/>
              <a:gd name="connsiteY7" fmla="*/ 2421 h 962541"/>
              <a:gd name="connsiteX8" fmla="*/ 405447 w 790892"/>
              <a:gd name="connsiteY8" fmla="*/ 2485 h 962541"/>
              <a:gd name="connsiteX9" fmla="*/ 779780 w 790892"/>
              <a:gd name="connsiteY9" fmla="*/ 242578 h 962541"/>
              <a:gd name="connsiteX10" fmla="*/ 790766 w 790892"/>
              <a:gd name="connsiteY10" fmla="*/ 261311 h 962541"/>
              <a:gd name="connsiteX11" fmla="*/ 790766 w 790892"/>
              <a:gd name="connsiteY11" fmla="*/ 295092 h 962541"/>
              <a:gd name="connsiteX12" fmla="*/ 790892 w 790892"/>
              <a:gd name="connsiteY12" fmla="*/ 364435 h 962541"/>
              <a:gd name="connsiteX13" fmla="*/ 790892 w 790892"/>
              <a:gd name="connsiteY13" fmla="*/ 938157 h 962541"/>
              <a:gd name="connsiteX14" fmla="*/ 766508 w 790892"/>
              <a:gd name="connsiteY14" fmla="*/ 962541 h 962541"/>
              <a:gd name="connsiteX15" fmla="*/ 676211 w 790892"/>
              <a:gd name="connsiteY15" fmla="*/ 962541 h 96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90892" h="962541">
                <a:moveTo>
                  <a:pt x="676211" y="962478"/>
                </a:moveTo>
                <a:lnTo>
                  <a:pt x="24892" y="962478"/>
                </a:lnTo>
                <a:cubicBezTo>
                  <a:pt x="11493" y="962478"/>
                  <a:pt x="444" y="951429"/>
                  <a:pt x="444" y="938030"/>
                </a:cubicBezTo>
                <a:cubicBezTo>
                  <a:pt x="127" y="673806"/>
                  <a:pt x="127" y="624277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8"/>
                  <a:pt x="4699" y="246642"/>
                  <a:pt x="11620" y="242261"/>
                </a:cubicBezTo>
                <a:cubicBezTo>
                  <a:pt x="64262" y="208732"/>
                  <a:pt x="288036" y="66048"/>
                  <a:pt x="388556" y="2421"/>
                </a:cubicBezTo>
                <a:cubicBezTo>
                  <a:pt x="393700" y="-818"/>
                  <a:pt x="400303" y="-818"/>
                  <a:pt x="405447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2"/>
                </a:lnTo>
                <a:cubicBezTo>
                  <a:pt x="790766" y="295092"/>
                  <a:pt x="790892" y="364435"/>
                  <a:pt x="790892" y="364435"/>
                </a:cubicBezTo>
                <a:lnTo>
                  <a:pt x="790892" y="938157"/>
                </a:lnTo>
                <a:cubicBezTo>
                  <a:pt x="790892" y="951619"/>
                  <a:pt x="779970" y="962541"/>
                  <a:pt x="766508" y="962541"/>
                </a:cubicBezTo>
                <a:lnTo>
                  <a:pt x="676211" y="962541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430ACE5-299E-43D7-A027-8B5E39AD8EC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994" y="2825912"/>
            <a:ext cx="6764047" cy="719689"/>
          </a:xfrm>
        </p:spPr>
        <p:txBody>
          <a:bodyPr anchor="t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A7DF4AA7-24A7-909D-C77E-AD46E8E1B97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97993" y="4199453"/>
            <a:ext cx="6764047" cy="528002"/>
          </a:xfrm>
        </p:spPr>
        <p:txBody>
          <a:bodyPr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Bagoss Standard" panose="020B0504060102020204" pitchFamily="34" charset="77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3" name="Picture 2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FC3510E3-AB35-FC5F-F8B4-2E39023C50C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185" y="494837"/>
            <a:ext cx="1057081" cy="546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5079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-form: Shape 2">
            <a:extLst>
              <a:ext uri="{FF2B5EF4-FFF2-40B4-BE49-F238E27FC236}">
                <a16:creationId xmlns:a16="http://schemas.microsoft.com/office/drawing/2014/main" id="{84F3FFFC-933C-555D-5DE2-7F69C7E9A0D3}"/>
              </a:ext>
            </a:extLst>
          </p:cNvPr>
          <p:cNvSpPr/>
          <p:nvPr userDrawn="1"/>
        </p:nvSpPr>
        <p:spPr>
          <a:xfrm>
            <a:off x="0" y="0"/>
            <a:ext cx="12192000" cy="2473648"/>
          </a:xfrm>
          <a:custGeom>
            <a:avLst/>
            <a:gdLst>
              <a:gd name="connsiteX0" fmla="*/ 0 w 12192000"/>
              <a:gd name="connsiteY0" fmla="*/ 0 h 2473648"/>
              <a:gd name="connsiteX1" fmla="*/ 12192000 w 12192000"/>
              <a:gd name="connsiteY1" fmla="*/ 0 h 2473648"/>
              <a:gd name="connsiteX2" fmla="*/ 12192000 w 12192000"/>
              <a:gd name="connsiteY2" fmla="*/ 67712 h 2473648"/>
              <a:gd name="connsiteX3" fmla="*/ 12192000 w 12192000"/>
              <a:gd name="connsiteY3" fmla="*/ 1622192 h 2473648"/>
              <a:gd name="connsiteX4" fmla="*/ 12192000 w 12192000"/>
              <a:gd name="connsiteY4" fmla="*/ 1881272 h 2473648"/>
              <a:gd name="connsiteX5" fmla="*/ 599291 w 12192000"/>
              <a:gd name="connsiteY5" fmla="*/ 1881272 h 2473648"/>
              <a:gd name="connsiteX6" fmla="*/ 441132 w 12192000"/>
              <a:gd name="connsiteY6" fmla="*/ 2037743 h 2473648"/>
              <a:gd name="connsiteX7" fmla="*/ 14623 w 12192000"/>
              <a:gd name="connsiteY7" fmla="*/ 2464608 h 2473648"/>
              <a:gd name="connsiteX8" fmla="*/ 0 w 12192000"/>
              <a:gd name="connsiteY8" fmla="*/ 2473648 h 2473648"/>
              <a:gd name="connsiteX9" fmla="*/ 0 w 12192000"/>
              <a:gd name="connsiteY9" fmla="*/ 2214568 h 2473648"/>
              <a:gd name="connsiteX10" fmla="*/ 0 w 12192000"/>
              <a:gd name="connsiteY10" fmla="*/ 1881272 h 2473648"/>
              <a:gd name="connsiteX11" fmla="*/ 0 w 12192000"/>
              <a:gd name="connsiteY11" fmla="*/ 1622192 h 2473648"/>
              <a:gd name="connsiteX12" fmla="*/ 0 w 12192000"/>
              <a:gd name="connsiteY12" fmla="*/ 67712 h 2473648"/>
              <a:gd name="connsiteX13" fmla="*/ 0 w 12192000"/>
              <a:gd name="connsiteY13" fmla="*/ 67711 h 2473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2473648">
                <a:moveTo>
                  <a:pt x="0" y="0"/>
                </a:moveTo>
                <a:lnTo>
                  <a:pt x="12192000" y="0"/>
                </a:lnTo>
                <a:lnTo>
                  <a:pt x="12192000" y="67712"/>
                </a:lnTo>
                <a:lnTo>
                  <a:pt x="12192000" y="1622192"/>
                </a:lnTo>
                <a:lnTo>
                  <a:pt x="12192000" y="1881272"/>
                </a:lnTo>
                <a:lnTo>
                  <a:pt x="599291" y="1881272"/>
                </a:lnTo>
                <a:lnTo>
                  <a:pt x="441132" y="2037743"/>
                </a:lnTo>
                <a:cubicBezTo>
                  <a:pt x="299064" y="2180177"/>
                  <a:pt x="157342" y="2323086"/>
                  <a:pt x="14623" y="2464608"/>
                </a:cubicBezTo>
                <a:lnTo>
                  <a:pt x="0" y="2473648"/>
                </a:lnTo>
                <a:lnTo>
                  <a:pt x="0" y="2214568"/>
                </a:lnTo>
                <a:lnTo>
                  <a:pt x="0" y="1881272"/>
                </a:lnTo>
                <a:lnTo>
                  <a:pt x="0" y="1622192"/>
                </a:lnTo>
                <a:lnTo>
                  <a:pt x="0" y="67712"/>
                </a:lnTo>
                <a:lnTo>
                  <a:pt x="0" y="67711"/>
                </a:lnTo>
                <a:close/>
              </a:path>
            </a:pathLst>
          </a:custGeom>
          <a:solidFill>
            <a:srgbClr val="012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946074-7727-94D1-9A38-733939DA4100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95324" y="404813"/>
            <a:ext cx="8807491" cy="615553"/>
          </a:xfrm>
        </p:spPr>
        <p:txBody>
          <a:bodyPr/>
          <a:lstStyle>
            <a:lvl1pPr>
              <a:lnSpc>
                <a:spcPct val="100000"/>
              </a:lnSpc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60475E8-2E68-871F-F73D-9D37DEDAC575}"/>
              </a:ext>
            </a:extLst>
          </p:cNvPr>
          <p:cNvSpPr>
            <a:spLocks noGrp="1"/>
          </p:cNvSpPr>
          <p:nvPr userDrawn="1">
            <p:ph type="body" idx="10"/>
          </p:nvPr>
        </p:nvSpPr>
        <p:spPr>
          <a:xfrm>
            <a:off x="695324" y="1139612"/>
            <a:ext cx="8807491" cy="384721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25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53B8CAB2-D111-C6E6-0957-CCD40B59ADD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95323" y="2226612"/>
            <a:ext cx="10801354" cy="2215991"/>
          </a:xfrm>
        </p:spPr>
        <p:txBody>
          <a:bodyPr/>
          <a:lstStyle>
            <a:lvl1pPr>
              <a:defRPr sz="2000"/>
            </a:lvl1pPr>
            <a:lvl2pPr>
              <a:buClr>
                <a:schemeClr val="accent2"/>
              </a:buClr>
              <a:defRPr/>
            </a:lvl2pPr>
            <a:lvl3pPr>
              <a:buClr>
                <a:schemeClr val="accent2"/>
              </a:buClr>
              <a:defRPr/>
            </a:lvl3pPr>
            <a:lvl4pPr>
              <a:buClr>
                <a:schemeClr val="accent2"/>
              </a:buClr>
              <a:defRPr/>
            </a:lvl4pPr>
            <a:lvl5pPr>
              <a:buClr>
                <a:schemeClr val="accent2"/>
              </a:buCl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5" name="Picture 4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77526F29-127C-93EC-2B9A-F3BC14EB9C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94031" y="576045"/>
            <a:ext cx="2102645" cy="689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4034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-form: Shape 4">
            <a:extLst>
              <a:ext uri="{FF2B5EF4-FFF2-40B4-BE49-F238E27FC236}">
                <a16:creationId xmlns:a16="http://schemas.microsoft.com/office/drawing/2014/main" id="{40F23EEE-C73E-ACBD-9DFB-A85185EC7D87}"/>
              </a:ext>
            </a:extLst>
          </p:cNvPr>
          <p:cNvSpPr/>
          <p:nvPr userDrawn="1"/>
        </p:nvSpPr>
        <p:spPr>
          <a:xfrm>
            <a:off x="0" y="0"/>
            <a:ext cx="12192000" cy="2473648"/>
          </a:xfrm>
          <a:custGeom>
            <a:avLst/>
            <a:gdLst>
              <a:gd name="connsiteX0" fmla="*/ 0 w 12192000"/>
              <a:gd name="connsiteY0" fmla="*/ 0 h 2473648"/>
              <a:gd name="connsiteX1" fmla="*/ 12192000 w 12192000"/>
              <a:gd name="connsiteY1" fmla="*/ 0 h 2473648"/>
              <a:gd name="connsiteX2" fmla="*/ 12192000 w 12192000"/>
              <a:gd name="connsiteY2" fmla="*/ 67712 h 2473648"/>
              <a:gd name="connsiteX3" fmla="*/ 12192000 w 12192000"/>
              <a:gd name="connsiteY3" fmla="*/ 1622192 h 2473648"/>
              <a:gd name="connsiteX4" fmla="*/ 12192000 w 12192000"/>
              <a:gd name="connsiteY4" fmla="*/ 1881272 h 2473648"/>
              <a:gd name="connsiteX5" fmla="*/ 599291 w 12192000"/>
              <a:gd name="connsiteY5" fmla="*/ 1881272 h 2473648"/>
              <a:gd name="connsiteX6" fmla="*/ 441132 w 12192000"/>
              <a:gd name="connsiteY6" fmla="*/ 2037743 h 2473648"/>
              <a:gd name="connsiteX7" fmla="*/ 14623 w 12192000"/>
              <a:gd name="connsiteY7" fmla="*/ 2464608 h 2473648"/>
              <a:gd name="connsiteX8" fmla="*/ 0 w 12192000"/>
              <a:gd name="connsiteY8" fmla="*/ 2473648 h 2473648"/>
              <a:gd name="connsiteX9" fmla="*/ 0 w 12192000"/>
              <a:gd name="connsiteY9" fmla="*/ 2214568 h 2473648"/>
              <a:gd name="connsiteX10" fmla="*/ 0 w 12192000"/>
              <a:gd name="connsiteY10" fmla="*/ 1881272 h 2473648"/>
              <a:gd name="connsiteX11" fmla="*/ 0 w 12192000"/>
              <a:gd name="connsiteY11" fmla="*/ 1622192 h 2473648"/>
              <a:gd name="connsiteX12" fmla="*/ 0 w 12192000"/>
              <a:gd name="connsiteY12" fmla="*/ 67712 h 2473648"/>
              <a:gd name="connsiteX13" fmla="*/ 0 w 12192000"/>
              <a:gd name="connsiteY13" fmla="*/ 67711 h 2473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2473648">
                <a:moveTo>
                  <a:pt x="0" y="0"/>
                </a:moveTo>
                <a:lnTo>
                  <a:pt x="12192000" y="0"/>
                </a:lnTo>
                <a:lnTo>
                  <a:pt x="12192000" y="67712"/>
                </a:lnTo>
                <a:lnTo>
                  <a:pt x="12192000" y="1622192"/>
                </a:lnTo>
                <a:lnTo>
                  <a:pt x="12192000" y="1881272"/>
                </a:lnTo>
                <a:lnTo>
                  <a:pt x="599291" y="1881272"/>
                </a:lnTo>
                <a:lnTo>
                  <a:pt x="441132" y="2037743"/>
                </a:lnTo>
                <a:cubicBezTo>
                  <a:pt x="299064" y="2180177"/>
                  <a:pt x="157342" y="2323086"/>
                  <a:pt x="14623" y="2464608"/>
                </a:cubicBezTo>
                <a:lnTo>
                  <a:pt x="0" y="2473648"/>
                </a:lnTo>
                <a:lnTo>
                  <a:pt x="0" y="2214568"/>
                </a:lnTo>
                <a:lnTo>
                  <a:pt x="0" y="1881272"/>
                </a:lnTo>
                <a:lnTo>
                  <a:pt x="0" y="1622192"/>
                </a:lnTo>
                <a:lnTo>
                  <a:pt x="0" y="67712"/>
                </a:lnTo>
                <a:lnTo>
                  <a:pt x="0" y="6771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946074-7727-94D1-9A38-733939DA4100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95324" y="404813"/>
            <a:ext cx="8807491" cy="615553"/>
          </a:xfrm>
        </p:spPr>
        <p:txBody>
          <a:bodyPr/>
          <a:lstStyle>
            <a:lvl1pPr>
              <a:lnSpc>
                <a:spcPct val="100000"/>
              </a:lnSpc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60475E8-2E68-871F-F73D-9D37DEDAC575}"/>
              </a:ext>
            </a:extLst>
          </p:cNvPr>
          <p:cNvSpPr>
            <a:spLocks noGrp="1"/>
          </p:cNvSpPr>
          <p:nvPr userDrawn="1">
            <p:ph type="body" idx="10"/>
          </p:nvPr>
        </p:nvSpPr>
        <p:spPr>
          <a:xfrm>
            <a:off x="695324" y="1139612"/>
            <a:ext cx="8807491" cy="384721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25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AD1F672D-E4EE-9607-3938-B571D2AEBCA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95323" y="2226612"/>
            <a:ext cx="10801354" cy="2215991"/>
          </a:xfrm>
        </p:spPr>
        <p:txBody>
          <a:bodyPr/>
          <a:lstStyle>
            <a:lvl1pPr>
              <a:defRPr sz="2000"/>
            </a:lvl1pPr>
            <a:lvl2pPr>
              <a:buClr>
                <a:schemeClr val="accent2"/>
              </a:buClr>
              <a:defRPr/>
            </a:lvl2pPr>
            <a:lvl3pPr>
              <a:buClr>
                <a:schemeClr val="accent2"/>
              </a:buClr>
              <a:defRPr/>
            </a:lvl3pPr>
            <a:lvl4pPr>
              <a:buClr>
                <a:schemeClr val="accent2"/>
              </a:buClr>
              <a:defRPr/>
            </a:lvl4pPr>
            <a:lvl5pPr>
              <a:buClr>
                <a:schemeClr val="accent2"/>
              </a:buCl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3" name="Picture 2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D3DD5276-276F-B6B6-4AD8-F63480993B1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257385" y="653135"/>
            <a:ext cx="2239291" cy="734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837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1">
    <p:bg>
      <p:bgPr>
        <a:solidFill>
          <a:srgbClr val="8A0C4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2D6A3DD1-1F00-7C62-3EE3-BC7562051BD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1" y="0"/>
            <a:ext cx="6093839" cy="6453188"/>
          </a:xfrm>
          <a:custGeom>
            <a:avLst/>
            <a:gdLst>
              <a:gd name="connsiteX0" fmla="*/ 278395 w 6093839"/>
              <a:gd name="connsiteY0" fmla="*/ 0 h 6453188"/>
              <a:gd name="connsiteX1" fmla="*/ 489404 w 6093839"/>
              <a:gd name="connsiteY1" fmla="*/ 0 h 6453188"/>
              <a:gd name="connsiteX2" fmla="*/ 6093839 w 6093839"/>
              <a:gd name="connsiteY2" fmla="*/ 0 h 6453188"/>
              <a:gd name="connsiteX3" fmla="*/ 6093839 w 6093839"/>
              <a:gd name="connsiteY3" fmla="*/ 5177144 h 6453188"/>
              <a:gd name="connsiteX4" fmla="*/ 1282743 w 6093839"/>
              <a:gd name="connsiteY4" fmla="*/ 5177144 h 6453188"/>
              <a:gd name="connsiteX5" fmla="*/ 165 w 6093839"/>
              <a:gd name="connsiteY5" fmla="*/ 6453188 h 6453188"/>
              <a:gd name="connsiteX6" fmla="*/ 0 w 6093839"/>
              <a:gd name="connsiteY6" fmla="*/ 6453188 h 6453188"/>
              <a:gd name="connsiteX7" fmla="*/ 10056 w 6093839"/>
              <a:gd name="connsiteY7" fmla="*/ 1280003 h 6453188"/>
              <a:gd name="connsiteX8" fmla="*/ 201007 w 6093839"/>
              <a:gd name="connsiteY8" fmla="*/ 193179 h 6453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093839" h="6453188">
                <a:moveTo>
                  <a:pt x="278395" y="0"/>
                </a:moveTo>
                <a:lnTo>
                  <a:pt x="489404" y="0"/>
                </a:lnTo>
                <a:lnTo>
                  <a:pt x="6093839" y="0"/>
                </a:lnTo>
                <a:lnTo>
                  <a:pt x="6093839" y="5177144"/>
                </a:lnTo>
                <a:lnTo>
                  <a:pt x="1282743" y="5177144"/>
                </a:lnTo>
                <a:lnTo>
                  <a:pt x="165" y="6453188"/>
                </a:lnTo>
                <a:lnTo>
                  <a:pt x="0" y="6453188"/>
                </a:lnTo>
                <a:lnTo>
                  <a:pt x="10056" y="1280003"/>
                </a:lnTo>
                <a:cubicBezTo>
                  <a:pt x="10056" y="900705"/>
                  <a:pt x="77049" y="535433"/>
                  <a:pt x="201007" y="193179"/>
                </a:cubicBezTo>
                <a:close/>
              </a:path>
            </a:pathLst>
          </a:custGeom>
          <a:solidFill>
            <a:srgbClr val="FFB0A2"/>
          </a:solidFill>
        </p:spPr>
        <p:txBody>
          <a:bodyPr wrap="square" bIns="108000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BB2390-5DF4-99F4-2C69-D0BC18756D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4" y="1380173"/>
            <a:ext cx="5014596" cy="1538883"/>
          </a:xfrm>
        </p:spPr>
        <p:txBody>
          <a:bodyPr>
            <a:spAutoFit/>
          </a:bodyPr>
          <a:lstStyle>
            <a:lvl1pPr>
              <a:defRPr sz="5000" b="1">
                <a:solidFill>
                  <a:srgbClr val="FFB0A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737ECE86-7046-D75C-ED2C-FFB763A0E7C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95323" y="3570657"/>
            <a:ext cx="5028711" cy="923330"/>
          </a:xfrm>
        </p:spPr>
        <p:txBody>
          <a:bodyPr wrap="square">
            <a:spAutoFit/>
          </a:bodyPr>
          <a:lstStyle>
            <a:lvl1pPr>
              <a:defRPr sz="3000">
                <a:solidFill>
                  <a:schemeClr val="bg1"/>
                </a:solidFill>
              </a:defRPr>
            </a:lvl1pPr>
            <a:lvl2pPr marL="0" indent="0">
              <a:buClr>
                <a:srgbClr val="004E5A"/>
              </a:buClr>
              <a:buNone/>
              <a:defRPr sz="2000">
                <a:solidFill>
                  <a:schemeClr val="bg1"/>
                </a:solidFill>
              </a:defRPr>
            </a:lvl2pPr>
            <a:lvl3pPr>
              <a:buClr>
                <a:srgbClr val="004E5A"/>
              </a:buClr>
              <a:defRPr sz="2000">
                <a:solidFill>
                  <a:schemeClr val="bg1"/>
                </a:solidFill>
              </a:defRPr>
            </a:lvl3pPr>
            <a:lvl4pPr>
              <a:buClr>
                <a:srgbClr val="004E5A"/>
              </a:buClr>
              <a:defRPr sz="2000">
                <a:solidFill>
                  <a:schemeClr val="bg1"/>
                </a:solidFill>
              </a:defRPr>
            </a:lvl4pPr>
            <a:lvl5pPr>
              <a:buClr>
                <a:srgbClr val="004E5A"/>
              </a:buClr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61F86BAA-8CFB-87D4-DFCE-9A9BB21CF57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5323" y="4777299"/>
            <a:ext cx="5028711" cy="307777"/>
          </a:xfrm>
        </p:spPr>
        <p:txBody>
          <a:bodyPr wrap="square">
            <a:sp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0" indent="0">
              <a:buClr>
                <a:srgbClr val="004E5A"/>
              </a:buClr>
              <a:buNone/>
              <a:defRPr sz="2000">
                <a:solidFill>
                  <a:schemeClr val="bg1"/>
                </a:solidFill>
              </a:defRPr>
            </a:lvl2pPr>
            <a:lvl3pPr>
              <a:buClr>
                <a:srgbClr val="004E5A"/>
              </a:buClr>
              <a:defRPr sz="2000">
                <a:solidFill>
                  <a:schemeClr val="bg1"/>
                </a:solidFill>
              </a:defRPr>
            </a:lvl3pPr>
            <a:lvl4pPr>
              <a:buClr>
                <a:srgbClr val="004E5A"/>
              </a:buClr>
              <a:defRPr sz="2000">
                <a:solidFill>
                  <a:schemeClr val="bg1"/>
                </a:solidFill>
              </a:defRPr>
            </a:lvl4pPr>
            <a:lvl5pPr>
              <a:buClr>
                <a:srgbClr val="004E5A"/>
              </a:buClr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3" name="Picture 2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82573A34-21F4-A4CC-D017-32773207890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54715" y="5486696"/>
            <a:ext cx="3041959" cy="997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3670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ext &amp; Content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BDAEDD57-623E-3D37-F372-3CC8886E89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52353" y="1054527"/>
            <a:ext cx="9866569" cy="541204"/>
          </a:xfrm>
        </p:spPr>
        <p:txBody>
          <a:bodyPr anchor="t">
            <a:noAutofit/>
          </a:bodyPr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AE1351B-7F17-0D5A-0966-C212A82B2429}"/>
              </a:ext>
            </a:extLst>
          </p:cNvPr>
          <p:cNvSpPr>
            <a:spLocks noGrp="1"/>
          </p:cNvSpPr>
          <p:nvPr>
            <p:ph type="body" sz="half" idx="11"/>
          </p:nvPr>
        </p:nvSpPr>
        <p:spPr>
          <a:xfrm>
            <a:off x="1152355" y="1683838"/>
            <a:ext cx="4817518" cy="541204"/>
          </a:xfrm>
        </p:spPr>
        <p:txBody>
          <a:bodyPr numCol="1">
            <a:noAutofit/>
          </a:bodyPr>
          <a:lstStyle>
            <a:lvl1pPr marL="0" indent="0">
              <a:buNone/>
              <a:defRPr sz="2400" b="0" i="0">
                <a:latin typeface="Arial" panose="020B0604020202020204" pitchFamily="34" charset="0"/>
                <a:ea typeface="Bagoss Standard" panose="020B0504060102020204" pitchFamily="34" charset="77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19">
            <a:extLst>
              <a:ext uri="{FF2B5EF4-FFF2-40B4-BE49-F238E27FC236}">
                <a16:creationId xmlns:a16="http://schemas.microsoft.com/office/drawing/2014/main" id="{DF55638F-C8B8-EEAA-859E-CBF62C55AE1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152355" y="2264636"/>
            <a:ext cx="4817518" cy="389530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/>
            </a:lvl1pPr>
            <a:lvl2pPr>
              <a:defRPr sz="1200"/>
            </a:lvl2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B10F18B-C382-84FB-D55F-FF816F62793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 r="37643"/>
          <a:stretch/>
        </p:blipFill>
        <p:spPr>
          <a:xfrm>
            <a:off x="493185" y="494837"/>
            <a:ext cx="659169" cy="269908"/>
          </a:xfrm>
          <a:prstGeom prst="rect">
            <a:avLst/>
          </a:prstGeom>
        </p:spPr>
      </p:pic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2655BE-F458-1F78-8C79-E0F50B611668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6221312" y="1683838"/>
            <a:ext cx="4817518" cy="541204"/>
          </a:xfrm>
        </p:spPr>
        <p:txBody>
          <a:bodyPr numCol="1">
            <a:noAutofit/>
          </a:bodyPr>
          <a:lstStyle>
            <a:lvl1pPr marL="0" indent="0">
              <a:buNone/>
              <a:defRPr sz="2400" b="0" i="0">
                <a:latin typeface="Arial" panose="020B0604020202020204" pitchFamily="34" charset="0"/>
                <a:ea typeface="Bagoss Standard" panose="020B0504060102020204" pitchFamily="34" charset="77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Content Placeholder 19">
            <a:extLst>
              <a:ext uri="{FF2B5EF4-FFF2-40B4-BE49-F238E27FC236}">
                <a16:creationId xmlns:a16="http://schemas.microsoft.com/office/drawing/2014/main" id="{1F9F1407-E8EC-9469-3495-C495F9B0EAB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21312" y="2264635"/>
            <a:ext cx="4817518" cy="389530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/>
            </a:lvl1pPr>
            <a:lvl2pPr>
              <a:defRPr sz="1200"/>
            </a:lvl2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0261922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98167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&amp; Content-Pattern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>
            <a:extLst>
              <a:ext uri="{FF2B5EF4-FFF2-40B4-BE49-F238E27FC236}">
                <a16:creationId xmlns:a16="http://schemas.microsoft.com/office/drawing/2014/main" id="{6CB497DC-2CF5-6F2F-C37F-6A037294C334}"/>
              </a:ext>
            </a:extLst>
          </p:cNvPr>
          <p:cNvSpPr/>
          <p:nvPr userDrawn="1"/>
        </p:nvSpPr>
        <p:spPr>
          <a:xfrm>
            <a:off x="255079" y="5639998"/>
            <a:ext cx="790892" cy="962541"/>
          </a:xfrm>
          <a:custGeom>
            <a:avLst/>
            <a:gdLst>
              <a:gd name="connsiteX0" fmla="*/ 676275 w 790892"/>
              <a:gd name="connsiteY0" fmla="*/ 962478 h 962541"/>
              <a:gd name="connsiteX1" fmla="*/ 24892 w 790892"/>
              <a:gd name="connsiteY1" fmla="*/ 962478 h 962541"/>
              <a:gd name="connsiteX2" fmla="*/ 445 w 790892"/>
              <a:gd name="connsiteY2" fmla="*/ 938030 h 962541"/>
              <a:gd name="connsiteX3" fmla="*/ 127 w 790892"/>
              <a:gd name="connsiteY3" fmla="*/ 366593 h 962541"/>
              <a:gd name="connsiteX4" fmla="*/ 0 w 790892"/>
              <a:gd name="connsiteY4" fmla="*/ 304744 h 962541"/>
              <a:gd name="connsiteX5" fmla="*/ 0 w 790892"/>
              <a:gd name="connsiteY5" fmla="*/ 262390 h 962541"/>
              <a:gd name="connsiteX6" fmla="*/ 11621 w 790892"/>
              <a:gd name="connsiteY6" fmla="*/ 242261 h 962541"/>
              <a:gd name="connsiteX7" fmla="*/ 388557 w 790892"/>
              <a:gd name="connsiteY7" fmla="*/ 2421 h 962541"/>
              <a:gd name="connsiteX8" fmla="*/ 405448 w 790892"/>
              <a:gd name="connsiteY8" fmla="*/ 2485 h 962541"/>
              <a:gd name="connsiteX9" fmla="*/ 779780 w 790892"/>
              <a:gd name="connsiteY9" fmla="*/ 242578 h 962541"/>
              <a:gd name="connsiteX10" fmla="*/ 790766 w 790892"/>
              <a:gd name="connsiteY10" fmla="*/ 261311 h 962541"/>
              <a:gd name="connsiteX11" fmla="*/ 790766 w 790892"/>
              <a:gd name="connsiteY11" fmla="*/ 295092 h 962541"/>
              <a:gd name="connsiteX12" fmla="*/ 790893 w 790892"/>
              <a:gd name="connsiteY12" fmla="*/ 364435 h 962541"/>
              <a:gd name="connsiteX13" fmla="*/ 790893 w 790892"/>
              <a:gd name="connsiteY13" fmla="*/ 938157 h 962541"/>
              <a:gd name="connsiteX14" fmla="*/ 766509 w 790892"/>
              <a:gd name="connsiteY14" fmla="*/ 962541 h 962541"/>
              <a:gd name="connsiteX15" fmla="*/ 676212 w 790892"/>
              <a:gd name="connsiteY15" fmla="*/ 962541 h 96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90892" h="962541">
                <a:moveTo>
                  <a:pt x="676275" y="962478"/>
                </a:moveTo>
                <a:lnTo>
                  <a:pt x="24892" y="962478"/>
                </a:lnTo>
                <a:cubicBezTo>
                  <a:pt x="11494" y="962478"/>
                  <a:pt x="445" y="951429"/>
                  <a:pt x="445" y="938030"/>
                </a:cubicBezTo>
                <a:cubicBezTo>
                  <a:pt x="127" y="673806"/>
                  <a:pt x="127" y="624277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8"/>
                  <a:pt x="4699" y="246642"/>
                  <a:pt x="11621" y="242261"/>
                </a:cubicBezTo>
                <a:cubicBezTo>
                  <a:pt x="64262" y="208732"/>
                  <a:pt x="288036" y="66048"/>
                  <a:pt x="388557" y="2421"/>
                </a:cubicBezTo>
                <a:cubicBezTo>
                  <a:pt x="393700" y="-818"/>
                  <a:pt x="400304" y="-818"/>
                  <a:pt x="405448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2"/>
                </a:lnTo>
                <a:cubicBezTo>
                  <a:pt x="790766" y="295092"/>
                  <a:pt x="790893" y="364435"/>
                  <a:pt x="790893" y="364435"/>
                </a:cubicBezTo>
                <a:lnTo>
                  <a:pt x="790893" y="938157"/>
                </a:lnTo>
                <a:cubicBezTo>
                  <a:pt x="790893" y="951619"/>
                  <a:pt x="779971" y="962541"/>
                  <a:pt x="766509" y="962541"/>
                </a:cubicBezTo>
                <a:lnTo>
                  <a:pt x="676212" y="962541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7A2F55F1-946A-086B-68C3-1E1F3F1D21BD}"/>
              </a:ext>
            </a:extLst>
          </p:cNvPr>
          <p:cNvSpPr/>
          <p:nvPr userDrawn="1"/>
        </p:nvSpPr>
        <p:spPr>
          <a:xfrm>
            <a:off x="2070290" y="5639998"/>
            <a:ext cx="790892" cy="962541"/>
          </a:xfrm>
          <a:custGeom>
            <a:avLst/>
            <a:gdLst>
              <a:gd name="connsiteX0" fmla="*/ 676211 w 790892"/>
              <a:gd name="connsiteY0" fmla="*/ 962478 h 962541"/>
              <a:gd name="connsiteX1" fmla="*/ 24892 w 790892"/>
              <a:gd name="connsiteY1" fmla="*/ 962478 h 962541"/>
              <a:gd name="connsiteX2" fmla="*/ 445 w 790892"/>
              <a:gd name="connsiteY2" fmla="*/ 938030 h 962541"/>
              <a:gd name="connsiteX3" fmla="*/ 127 w 790892"/>
              <a:gd name="connsiteY3" fmla="*/ 366593 h 962541"/>
              <a:gd name="connsiteX4" fmla="*/ 0 w 790892"/>
              <a:gd name="connsiteY4" fmla="*/ 304744 h 962541"/>
              <a:gd name="connsiteX5" fmla="*/ 0 w 790892"/>
              <a:gd name="connsiteY5" fmla="*/ 262390 h 962541"/>
              <a:gd name="connsiteX6" fmla="*/ 11620 w 790892"/>
              <a:gd name="connsiteY6" fmla="*/ 242261 h 962541"/>
              <a:gd name="connsiteX7" fmla="*/ 388557 w 790892"/>
              <a:gd name="connsiteY7" fmla="*/ 2421 h 962541"/>
              <a:gd name="connsiteX8" fmla="*/ 405448 w 790892"/>
              <a:gd name="connsiteY8" fmla="*/ 2485 h 962541"/>
              <a:gd name="connsiteX9" fmla="*/ 779780 w 790892"/>
              <a:gd name="connsiteY9" fmla="*/ 242578 h 962541"/>
              <a:gd name="connsiteX10" fmla="*/ 790766 w 790892"/>
              <a:gd name="connsiteY10" fmla="*/ 261311 h 962541"/>
              <a:gd name="connsiteX11" fmla="*/ 790766 w 790892"/>
              <a:gd name="connsiteY11" fmla="*/ 295092 h 962541"/>
              <a:gd name="connsiteX12" fmla="*/ 790892 w 790892"/>
              <a:gd name="connsiteY12" fmla="*/ 364435 h 962541"/>
              <a:gd name="connsiteX13" fmla="*/ 790892 w 790892"/>
              <a:gd name="connsiteY13" fmla="*/ 938157 h 962541"/>
              <a:gd name="connsiteX14" fmla="*/ 766508 w 790892"/>
              <a:gd name="connsiteY14" fmla="*/ 962541 h 962541"/>
              <a:gd name="connsiteX15" fmla="*/ 676211 w 790892"/>
              <a:gd name="connsiteY15" fmla="*/ 962541 h 96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90892" h="962541">
                <a:moveTo>
                  <a:pt x="676211" y="962478"/>
                </a:moveTo>
                <a:lnTo>
                  <a:pt x="24892" y="962478"/>
                </a:lnTo>
                <a:cubicBezTo>
                  <a:pt x="11493" y="962478"/>
                  <a:pt x="445" y="951429"/>
                  <a:pt x="445" y="938030"/>
                </a:cubicBezTo>
                <a:cubicBezTo>
                  <a:pt x="127" y="673806"/>
                  <a:pt x="127" y="624277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8"/>
                  <a:pt x="4699" y="246642"/>
                  <a:pt x="11620" y="242261"/>
                </a:cubicBezTo>
                <a:cubicBezTo>
                  <a:pt x="64262" y="208732"/>
                  <a:pt x="288036" y="66048"/>
                  <a:pt x="388557" y="2421"/>
                </a:cubicBezTo>
                <a:cubicBezTo>
                  <a:pt x="393700" y="-818"/>
                  <a:pt x="400304" y="-818"/>
                  <a:pt x="405448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2"/>
                </a:lnTo>
                <a:cubicBezTo>
                  <a:pt x="790766" y="295092"/>
                  <a:pt x="790892" y="364435"/>
                  <a:pt x="790892" y="364435"/>
                </a:cubicBezTo>
                <a:lnTo>
                  <a:pt x="790892" y="938157"/>
                </a:lnTo>
                <a:cubicBezTo>
                  <a:pt x="790892" y="951619"/>
                  <a:pt x="779970" y="962541"/>
                  <a:pt x="766508" y="962541"/>
                </a:cubicBezTo>
                <a:lnTo>
                  <a:pt x="676211" y="962541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0EB57E5C-1731-79AC-D19F-473AFDBD8A42}"/>
              </a:ext>
            </a:extLst>
          </p:cNvPr>
          <p:cNvSpPr/>
          <p:nvPr userDrawn="1"/>
        </p:nvSpPr>
        <p:spPr>
          <a:xfrm>
            <a:off x="3885438" y="5639998"/>
            <a:ext cx="790892" cy="962541"/>
          </a:xfrm>
          <a:custGeom>
            <a:avLst/>
            <a:gdLst>
              <a:gd name="connsiteX0" fmla="*/ 676211 w 790892"/>
              <a:gd name="connsiteY0" fmla="*/ 962478 h 962541"/>
              <a:gd name="connsiteX1" fmla="*/ 24892 w 790892"/>
              <a:gd name="connsiteY1" fmla="*/ 962478 h 962541"/>
              <a:gd name="connsiteX2" fmla="*/ 445 w 790892"/>
              <a:gd name="connsiteY2" fmla="*/ 938030 h 962541"/>
              <a:gd name="connsiteX3" fmla="*/ 127 w 790892"/>
              <a:gd name="connsiteY3" fmla="*/ 366593 h 962541"/>
              <a:gd name="connsiteX4" fmla="*/ 0 w 790892"/>
              <a:gd name="connsiteY4" fmla="*/ 304744 h 962541"/>
              <a:gd name="connsiteX5" fmla="*/ 0 w 790892"/>
              <a:gd name="connsiteY5" fmla="*/ 262390 h 962541"/>
              <a:gd name="connsiteX6" fmla="*/ 11621 w 790892"/>
              <a:gd name="connsiteY6" fmla="*/ 242261 h 962541"/>
              <a:gd name="connsiteX7" fmla="*/ 388557 w 790892"/>
              <a:gd name="connsiteY7" fmla="*/ 2421 h 962541"/>
              <a:gd name="connsiteX8" fmla="*/ 405447 w 790892"/>
              <a:gd name="connsiteY8" fmla="*/ 2485 h 962541"/>
              <a:gd name="connsiteX9" fmla="*/ 779780 w 790892"/>
              <a:gd name="connsiteY9" fmla="*/ 242578 h 962541"/>
              <a:gd name="connsiteX10" fmla="*/ 790765 w 790892"/>
              <a:gd name="connsiteY10" fmla="*/ 261311 h 962541"/>
              <a:gd name="connsiteX11" fmla="*/ 790765 w 790892"/>
              <a:gd name="connsiteY11" fmla="*/ 295092 h 962541"/>
              <a:gd name="connsiteX12" fmla="*/ 790892 w 790892"/>
              <a:gd name="connsiteY12" fmla="*/ 364435 h 962541"/>
              <a:gd name="connsiteX13" fmla="*/ 790892 w 790892"/>
              <a:gd name="connsiteY13" fmla="*/ 938157 h 962541"/>
              <a:gd name="connsiteX14" fmla="*/ 766509 w 790892"/>
              <a:gd name="connsiteY14" fmla="*/ 962541 h 962541"/>
              <a:gd name="connsiteX15" fmla="*/ 676211 w 790892"/>
              <a:gd name="connsiteY15" fmla="*/ 962541 h 96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90892" h="962541">
                <a:moveTo>
                  <a:pt x="676211" y="962478"/>
                </a:moveTo>
                <a:lnTo>
                  <a:pt x="24892" y="962478"/>
                </a:lnTo>
                <a:cubicBezTo>
                  <a:pt x="11493" y="962478"/>
                  <a:pt x="445" y="951429"/>
                  <a:pt x="445" y="938030"/>
                </a:cubicBezTo>
                <a:cubicBezTo>
                  <a:pt x="127" y="673806"/>
                  <a:pt x="127" y="624277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8"/>
                  <a:pt x="4699" y="246642"/>
                  <a:pt x="11621" y="242261"/>
                </a:cubicBezTo>
                <a:cubicBezTo>
                  <a:pt x="64262" y="208732"/>
                  <a:pt x="288036" y="66048"/>
                  <a:pt x="388557" y="2421"/>
                </a:cubicBezTo>
                <a:cubicBezTo>
                  <a:pt x="393700" y="-818"/>
                  <a:pt x="400304" y="-818"/>
                  <a:pt x="405447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5" y="261311"/>
                </a:cubicBezTo>
                <a:lnTo>
                  <a:pt x="790765" y="295092"/>
                </a:lnTo>
                <a:cubicBezTo>
                  <a:pt x="790765" y="295092"/>
                  <a:pt x="790892" y="364435"/>
                  <a:pt x="790892" y="364435"/>
                </a:cubicBezTo>
                <a:lnTo>
                  <a:pt x="790892" y="938157"/>
                </a:lnTo>
                <a:cubicBezTo>
                  <a:pt x="790892" y="951619"/>
                  <a:pt x="779971" y="962541"/>
                  <a:pt x="766509" y="962541"/>
                </a:cubicBezTo>
                <a:lnTo>
                  <a:pt x="676211" y="962541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36FFDCF9-5CD2-A892-3843-BC846F544CAC}"/>
              </a:ext>
            </a:extLst>
          </p:cNvPr>
          <p:cNvSpPr/>
          <p:nvPr userDrawn="1"/>
        </p:nvSpPr>
        <p:spPr>
          <a:xfrm>
            <a:off x="5700585" y="5639998"/>
            <a:ext cx="790892" cy="962541"/>
          </a:xfrm>
          <a:custGeom>
            <a:avLst/>
            <a:gdLst>
              <a:gd name="connsiteX0" fmla="*/ 676211 w 790892"/>
              <a:gd name="connsiteY0" fmla="*/ 962478 h 962541"/>
              <a:gd name="connsiteX1" fmla="*/ 24892 w 790892"/>
              <a:gd name="connsiteY1" fmla="*/ 962478 h 962541"/>
              <a:gd name="connsiteX2" fmla="*/ 445 w 790892"/>
              <a:gd name="connsiteY2" fmla="*/ 938030 h 962541"/>
              <a:gd name="connsiteX3" fmla="*/ 127 w 790892"/>
              <a:gd name="connsiteY3" fmla="*/ 366593 h 962541"/>
              <a:gd name="connsiteX4" fmla="*/ 0 w 790892"/>
              <a:gd name="connsiteY4" fmla="*/ 304744 h 962541"/>
              <a:gd name="connsiteX5" fmla="*/ 0 w 790892"/>
              <a:gd name="connsiteY5" fmla="*/ 262390 h 962541"/>
              <a:gd name="connsiteX6" fmla="*/ 11621 w 790892"/>
              <a:gd name="connsiteY6" fmla="*/ 242261 h 962541"/>
              <a:gd name="connsiteX7" fmla="*/ 388557 w 790892"/>
              <a:gd name="connsiteY7" fmla="*/ 2421 h 962541"/>
              <a:gd name="connsiteX8" fmla="*/ 405448 w 790892"/>
              <a:gd name="connsiteY8" fmla="*/ 2485 h 962541"/>
              <a:gd name="connsiteX9" fmla="*/ 779780 w 790892"/>
              <a:gd name="connsiteY9" fmla="*/ 242578 h 962541"/>
              <a:gd name="connsiteX10" fmla="*/ 790766 w 790892"/>
              <a:gd name="connsiteY10" fmla="*/ 261311 h 962541"/>
              <a:gd name="connsiteX11" fmla="*/ 790766 w 790892"/>
              <a:gd name="connsiteY11" fmla="*/ 295092 h 962541"/>
              <a:gd name="connsiteX12" fmla="*/ 790893 w 790892"/>
              <a:gd name="connsiteY12" fmla="*/ 364435 h 962541"/>
              <a:gd name="connsiteX13" fmla="*/ 790893 w 790892"/>
              <a:gd name="connsiteY13" fmla="*/ 938157 h 962541"/>
              <a:gd name="connsiteX14" fmla="*/ 766509 w 790892"/>
              <a:gd name="connsiteY14" fmla="*/ 962541 h 962541"/>
              <a:gd name="connsiteX15" fmla="*/ 676211 w 790892"/>
              <a:gd name="connsiteY15" fmla="*/ 962541 h 96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90892" h="962541">
                <a:moveTo>
                  <a:pt x="676211" y="962478"/>
                </a:moveTo>
                <a:lnTo>
                  <a:pt x="24892" y="962478"/>
                </a:lnTo>
                <a:cubicBezTo>
                  <a:pt x="11493" y="962478"/>
                  <a:pt x="445" y="951429"/>
                  <a:pt x="445" y="938030"/>
                </a:cubicBezTo>
                <a:cubicBezTo>
                  <a:pt x="127" y="673806"/>
                  <a:pt x="127" y="624277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8"/>
                  <a:pt x="4699" y="246642"/>
                  <a:pt x="11621" y="242261"/>
                </a:cubicBezTo>
                <a:cubicBezTo>
                  <a:pt x="64262" y="208732"/>
                  <a:pt x="288036" y="66048"/>
                  <a:pt x="388557" y="2421"/>
                </a:cubicBezTo>
                <a:cubicBezTo>
                  <a:pt x="393700" y="-818"/>
                  <a:pt x="400304" y="-818"/>
                  <a:pt x="405448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2"/>
                </a:lnTo>
                <a:cubicBezTo>
                  <a:pt x="790766" y="295092"/>
                  <a:pt x="790893" y="364435"/>
                  <a:pt x="790893" y="364435"/>
                </a:cubicBezTo>
                <a:lnTo>
                  <a:pt x="790893" y="938157"/>
                </a:lnTo>
                <a:cubicBezTo>
                  <a:pt x="790893" y="951619"/>
                  <a:pt x="779971" y="962541"/>
                  <a:pt x="766509" y="962541"/>
                </a:cubicBezTo>
                <a:lnTo>
                  <a:pt x="676211" y="962541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54714896-F620-0E4A-457A-911403630D17}"/>
              </a:ext>
            </a:extLst>
          </p:cNvPr>
          <p:cNvSpPr/>
          <p:nvPr userDrawn="1"/>
        </p:nvSpPr>
        <p:spPr>
          <a:xfrm>
            <a:off x="1162685" y="5161335"/>
            <a:ext cx="790892" cy="956907"/>
          </a:xfrm>
          <a:custGeom>
            <a:avLst/>
            <a:gdLst>
              <a:gd name="connsiteX0" fmla="*/ 19304 w 790892"/>
              <a:gd name="connsiteY0" fmla="*/ 956128 h 956907"/>
              <a:gd name="connsiteX1" fmla="*/ 444 w 790892"/>
              <a:gd name="connsiteY1" fmla="*/ 942602 h 956907"/>
              <a:gd name="connsiteX2" fmla="*/ 127 w 790892"/>
              <a:gd name="connsiteY2" fmla="*/ 366593 h 956907"/>
              <a:gd name="connsiteX3" fmla="*/ 0 w 790892"/>
              <a:gd name="connsiteY3" fmla="*/ 304744 h 956907"/>
              <a:gd name="connsiteX4" fmla="*/ 0 w 790892"/>
              <a:gd name="connsiteY4" fmla="*/ 262390 h 956907"/>
              <a:gd name="connsiteX5" fmla="*/ 11620 w 790892"/>
              <a:gd name="connsiteY5" fmla="*/ 242261 h 956907"/>
              <a:gd name="connsiteX6" fmla="*/ 388556 w 790892"/>
              <a:gd name="connsiteY6" fmla="*/ 2421 h 956907"/>
              <a:gd name="connsiteX7" fmla="*/ 405447 w 790892"/>
              <a:gd name="connsiteY7" fmla="*/ 2485 h 956907"/>
              <a:gd name="connsiteX8" fmla="*/ 779780 w 790892"/>
              <a:gd name="connsiteY8" fmla="*/ 242578 h 956907"/>
              <a:gd name="connsiteX9" fmla="*/ 790766 w 790892"/>
              <a:gd name="connsiteY9" fmla="*/ 261311 h 956907"/>
              <a:gd name="connsiteX10" fmla="*/ 790766 w 790892"/>
              <a:gd name="connsiteY10" fmla="*/ 295093 h 956907"/>
              <a:gd name="connsiteX11" fmla="*/ 790892 w 790892"/>
              <a:gd name="connsiteY11" fmla="*/ 364435 h 956907"/>
              <a:gd name="connsiteX12" fmla="*/ 790892 w 790892"/>
              <a:gd name="connsiteY12" fmla="*/ 942602 h 956907"/>
              <a:gd name="connsiteX13" fmla="*/ 772097 w 790892"/>
              <a:gd name="connsiteY13" fmla="*/ 956064 h 956907"/>
              <a:gd name="connsiteX14" fmla="*/ 405320 w 790892"/>
              <a:gd name="connsiteY14" fmla="*/ 830715 h 956907"/>
              <a:gd name="connsiteX15" fmla="*/ 386334 w 790892"/>
              <a:gd name="connsiteY15" fmla="*/ 830715 h 956907"/>
              <a:gd name="connsiteX16" fmla="*/ 19367 w 790892"/>
              <a:gd name="connsiteY16" fmla="*/ 956000 h 956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90892" h="956907">
                <a:moveTo>
                  <a:pt x="19304" y="956128"/>
                </a:moveTo>
                <a:cubicBezTo>
                  <a:pt x="10096" y="959303"/>
                  <a:pt x="508" y="952381"/>
                  <a:pt x="444" y="942602"/>
                </a:cubicBezTo>
                <a:cubicBezTo>
                  <a:pt x="127" y="674378"/>
                  <a:pt x="127" y="625800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9"/>
                  <a:pt x="4699" y="246642"/>
                  <a:pt x="11620" y="242261"/>
                </a:cubicBezTo>
                <a:cubicBezTo>
                  <a:pt x="64262" y="208732"/>
                  <a:pt x="288036" y="66048"/>
                  <a:pt x="388556" y="2421"/>
                </a:cubicBezTo>
                <a:cubicBezTo>
                  <a:pt x="393700" y="-818"/>
                  <a:pt x="400304" y="-818"/>
                  <a:pt x="405447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3"/>
                </a:lnTo>
                <a:cubicBezTo>
                  <a:pt x="790766" y="295093"/>
                  <a:pt x="790892" y="364435"/>
                  <a:pt x="790892" y="364435"/>
                </a:cubicBezTo>
                <a:lnTo>
                  <a:pt x="790892" y="942602"/>
                </a:lnTo>
                <a:cubicBezTo>
                  <a:pt x="790892" y="952381"/>
                  <a:pt x="781304" y="959239"/>
                  <a:pt x="772097" y="956064"/>
                </a:cubicBezTo>
                <a:lnTo>
                  <a:pt x="405320" y="830715"/>
                </a:lnTo>
                <a:cubicBezTo>
                  <a:pt x="399161" y="828619"/>
                  <a:pt x="392494" y="828619"/>
                  <a:pt x="386334" y="830715"/>
                </a:cubicBezTo>
                <a:lnTo>
                  <a:pt x="19367" y="95600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73B32A79-33EA-0795-3110-F0FE34D56A0B}"/>
              </a:ext>
            </a:extLst>
          </p:cNvPr>
          <p:cNvSpPr/>
          <p:nvPr userDrawn="1"/>
        </p:nvSpPr>
        <p:spPr>
          <a:xfrm>
            <a:off x="1162621" y="6118383"/>
            <a:ext cx="790955" cy="484219"/>
          </a:xfrm>
          <a:custGeom>
            <a:avLst/>
            <a:gdLst>
              <a:gd name="connsiteX0" fmla="*/ 190 w 790955"/>
              <a:gd name="connsiteY0" fmla="*/ 366554 h 484219"/>
              <a:gd name="connsiteX1" fmla="*/ 190 w 790955"/>
              <a:gd name="connsiteY1" fmla="*/ 459835 h 484219"/>
              <a:gd name="connsiteX2" fmla="*/ 24575 w 790955"/>
              <a:gd name="connsiteY2" fmla="*/ 484220 h 484219"/>
              <a:gd name="connsiteX3" fmla="*/ 766572 w 790955"/>
              <a:gd name="connsiteY3" fmla="*/ 484220 h 484219"/>
              <a:gd name="connsiteX4" fmla="*/ 790956 w 790955"/>
              <a:gd name="connsiteY4" fmla="*/ 459835 h 484219"/>
              <a:gd name="connsiteX5" fmla="*/ 790956 w 790955"/>
              <a:gd name="connsiteY5" fmla="*/ 364458 h 484219"/>
              <a:gd name="connsiteX6" fmla="*/ 790829 w 790955"/>
              <a:gd name="connsiteY6" fmla="*/ 295116 h 484219"/>
              <a:gd name="connsiteX7" fmla="*/ 790829 w 790955"/>
              <a:gd name="connsiteY7" fmla="*/ 261334 h 484219"/>
              <a:gd name="connsiteX8" fmla="*/ 779780 w 790955"/>
              <a:gd name="connsiteY8" fmla="*/ 242602 h 484219"/>
              <a:gd name="connsiteX9" fmla="*/ 405448 w 790955"/>
              <a:gd name="connsiteY9" fmla="*/ 2508 h 484219"/>
              <a:gd name="connsiteX10" fmla="*/ 388557 w 790955"/>
              <a:gd name="connsiteY10" fmla="*/ 2445 h 484219"/>
              <a:gd name="connsiteX11" fmla="*/ 11621 w 790955"/>
              <a:gd name="connsiteY11" fmla="*/ 242284 h 484219"/>
              <a:gd name="connsiteX12" fmla="*/ 0 w 790955"/>
              <a:gd name="connsiteY12" fmla="*/ 262477 h 484219"/>
              <a:gd name="connsiteX13" fmla="*/ 0 w 790955"/>
              <a:gd name="connsiteY13" fmla="*/ 304832 h 484219"/>
              <a:gd name="connsiteX14" fmla="*/ 127 w 790955"/>
              <a:gd name="connsiteY14" fmla="*/ 366681 h 48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90955" h="484219">
                <a:moveTo>
                  <a:pt x="190" y="366554"/>
                </a:moveTo>
                <a:cubicBezTo>
                  <a:pt x="190" y="401098"/>
                  <a:pt x="190" y="431769"/>
                  <a:pt x="190" y="459835"/>
                </a:cubicBezTo>
                <a:cubicBezTo>
                  <a:pt x="190" y="473298"/>
                  <a:pt x="11113" y="484220"/>
                  <a:pt x="24575" y="484220"/>
                </a:cubicBezTo>
                <a:lnTo>
                  <a:pt x="766572" y="484220"/>
                </a:lnTo>
                <a:cubicBezTo>
                  <a:pt x="780034" y="484220"/>
                  <a:pt x="790956" y="473298"/>
                  <a:pt x="790956" y="459835"/>
                </a:cubicBezTo>
                <a:lnTo>
                  <a:pt x="790956" y="364458"/>
                </a:lnTo>
                <a:lnTo>
                  <a:pt x="790829" y="295116"/>
                </a:lnTo>
                <a:lnTo>
                  <a:pt x="790829" y="261334"/>
                </a:lnTo>
                <a:cubicBezTo>
                  <a:pt x="790194" y="253714"/>
                  <a:pt x="786257" y="246729"/>
                  <a:pt x="779780" y="242602"/>
                </a:cubicBezTo>
                <a:lnTo>
                  <a:pt x="405448" y="2508"/>
                </a:lnTo>
                <a:cubicBezTo>
                  <a:pt x="400304" y="-793"/>
                  <a:pt x="393764" y="-857"/>
                  <a:pt x="388557" y="2445"/>
                </a:cubicBezTo>
                <a:cubicBezTo>
                  <a:pt x="287973" y="66072"/>
                  <a:pt x="64262" y="208757"/>
                  <a:pt x="11621" y="242284"/>
                </a:cubicBezTo>
                <a:cubicBezTo>
                  <a:pt x="4699" y="246666"/>
                  <a:pt x="127" y="254286"/>
                  <a:pt x="0" y="262477"/>
                </a:cubicBezTo>
                <a:lnTo>
                  <a:pt x="0" y="304832"/>
                </a:lnTo>
                <a:cubicBezTo>
                  <a:pt x="0" y="304832"/>
                  <a:pt x="127" y="366681"/>
                  <a:pt x="127" y="366681"/>
                </a:cubicBez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E7BE0D48-E8C3-B0ED-2A0D-152F8BB5FE16}"/>
              </a:ext>
            </a:extLst>
          </p:cNvPr>
          <p:cNvSpPr/>
          <p:nvPr userDrawn="1"/>
        </p:nvSpPr>
        <p:spPr>
          <a:xfrm>
            <a:off x="2977832" y="5161335"/>
            <a:ext cx="790892" cy="956907"/>
          </a:xfrm>
          <a:custGeom>
            <a:avLst/>
            <a:gdLst>
              <a:gd name="connsiteX0" fmla="*/ 19304 w 790892"/>
              <a:gd name="connsiteY0" fmla="*/ 956128 h 956907"/>
              <a:gd name="connsiteX1" fmla="*/ 444 w 790892"/>
              <a:gd name="connsiteY1" fmla="*/ 942602 h 956907"/>
              <a:gd name="connsiteX2" fmla="*/ 127 w 790892"/>
              <a:gd name="connsiteY2" fmla="*/ 366593 h 956907"/>
              <a:gd name="connsiteX3" fmla="*/ 0 w 790892"/>
              <a:gd name="connsiteY3" fmla="*/ 304744 h 956907"/>
              <a:gd name="connsiteX4" fmla="*/ 0 w 790892"/>
              <a:gd name="connsiteY4" fmla="*/ 262390 h 956907"/>
              <a:gd name="connsiteX5" fmla="*/ 11620 w 790892"/>
              <a:gd name="connsiteY5" fmla="*/ 242261 h 956907"/>
              <a:gd name="connsiteX6" fmla="*/ 388557 w 790892"/>
              <a:gd name="connsiteY6" fmla="*/ 2421 h 956907"/>
              <a:gd name="connsiteX7" fmla="*/ 405447 w 790892"/>
              <a:gd name="connsiteY7" fmla="*/ 2485 h 956907"/>
              <a:gd name="connsiteX8" fmla="*/ 779780 w 790892"/>
              <a:gd name="connsiteY8" fmla="*/ 242578 h 956907"/>
              <a:gd name="connsiteX9" fmla="*/ 790765 w 790892"/>
              <a:gd name="connsiteY9" fmla="*/ 261311 h 956907"/>
              <a:gd name="connsiteX10" fmla="*/ 790765 w 790892"/>
              <a:gd name="connsiteY10" fmla="*/ 295093 h 956907"/>
              <a:gd name="connsiteX11" fmla="*/ 790892 w 790892"/>
              <a:gd name="connsiteY11" fmla="*/ 364435 h 956907"/>
              <a:gd name="connsiteX12" fmla="*/ 790892 w 790892"/>
              <a:gd name="connsiteY12" fmla="*/ 942602 h 956907"/>
              <a:gd name="connsiteX13" fmla="*/ 772096 w 790892"/>
              <a:gd name="connsiteY13" fmla="*/ 956064 h 956907"/>
              <a:gd name="connsiteX14" fmla="*/ 405321 w 790892"/>
              <a:gd name="connsiteY14" fmla="*/ 830715 h 956907"/>
              <a:gd name="connsiteX15" fmla="*/ 386334 w 790892"/>
              <a:gd name="connsiteY15" fmla="*/ 830715 h 956907"/>
              <a:gd name="connsiteX16" fmla="*/ 19367 w 790892"/>
              <a:gd name="connsiteY16" fmla="*/ 956000 h 956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90892" h="956907">
                <a:moveTo>
                  <a:pt x="19304" y="956128"/>
                </a:moveTo>
                <a:cubicBezTo>
                  <a:pt x="10096" y="959303"/>
                  <a:pt x="508" y="952381"/>
                  <a:pt x="444" y="942602"/>
                </a:cubicBezTo>
                <a:cubicBezTo>
                  <a:pt x="127" y="674378"/>
                  <a:pt x="127" y="625800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9"/>
                  <a:pt x="4699" y="246642"/>
                  <a:pt x="11620" y="242261"/>
                </a:cubicBezTo>
                <a:cubicBezTo>
                  <a:pt x="64262" y="208732"/>
                  <a:pt x="288036" y="66048"/>
                  <a:pt x="388557" y="2421"/>
                </a:cubicBezTo>
                <a:cubicBezTo>
                  <a:pt x="393700" y="-818"/>
                  <a:pt x="400304" y="-818"/>
                  <a:pt x="405447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5" y="261311"/>
                </a:cubicBezTo>
                <a:lnTo>
                  <a:pt x="790765" y="295093"/>
                </a:lnTo>
                <a:cubicBezTo>
                  <a:pt x="790765" y="295093"/>
                  <a:pt x="790892" y="364435"/>
                  <a:pt x="790892" y="364435"/>
                </a:cubicBezTo>
                <a:lnTo>
                  <a:pt x="790892" y="942602"/>
                </a:lnTo>
                <a:cubicBezTo>
                  <a:pt x="790892" y="952381"/>
                  <a:pt x="781304" y="959239"/>
                  <a:pt x="772096" y="956064"/>
                </a:cubicBezTo>
                <a:lnTo>
                  <a:pt x="405321" y="830715"/>
                </a:lnTo>
                <a:cubicBezTo>
                  <a:pt x="399161" y="828619"/>
                  <a:pt x="392494" y="828619"/>
                  <a:pt x="386334" y="830715"/>
                </a:cubicBezTo>
                <a:lnTo>
                  <a:pt x="19367" y="95600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3" name="Freeform 12">
            <a:extLst>
              <a:ext uri="{FF2B5EF4-FFF2-40B4-BE49-F238E27FC236}">
                <a16:creationId xmlns:a16="http://schemas.microsoft.com/office/drawing/2014/main" id="{720DB225-D956-2126-18BD-0CB3BA8877B3}"/>
              </a:ext>
            </a:extLst>
          </p:cNvPr>
          <p:cNvSpPr/>
          <p:nvPr userDrawn="1"/>
        </p:nvSpPr>
        <p:spPr>
          <a:xfrm>
            <a:off x="2977769" y="6118383"/>
            <a:ext cx="790955" cy="484219"/>
          </a:xfrm>
          <a:custGeom>
            <a:avLst/>
            <a:gdLst>
              <a:gd name="connsiteX0" fmla="*/ 190 w 790955"/>
              <a:gd name="connsiteY0" fmla="*/ 366554 h 484219"/>
              <a:gd name="connsiteX1" fmla="*/ 190 w 790955"/>
              <a:gd name="connsiteY1" fmla="*/ 459835 h 484219"/>
              <a:gd name="connsiteX2" fmla="*/ 24574 w 790955"/>
              <a:gd name="connsiteY2" fmla="*/ 484220 h 484219"/>
              <a:gd name="connsiteX3" fmla="*/ 766572 w 790955"/>
              <a:gd name="connsiteY3" fmla="*/ 484220 h 484219"/>
              <a:gd name="connsiteX4" fmla="*/ 790956 w 790955"/>
              <a:gd name="connsiteY4" fmla="*/ 459835 h 484219"/>
              <a:gd name="connsiteX5" fmla="*/ 790956 w 790955"/>
              <a:gd name="connsiteY5" fmla="*/ 364458 h 484219"/>
              <a:gd name="connsiteX6" fmla="*/ 790829 w 790955"/>
              <a:gd name="connsiteY6" fmla="*/ 295116 h 484219"/>
              <a:gd name="connsiteX7" fmla="*/ 790829 w 790955"/>
              <a:gd name="connsiteY7" fmla="*/ 261334 h 484219"/>
              <a:gd name="connsiteX8" fmla="*/ 779780 w 790955"/>
              <a:gd name="connsiteY8" fmla="*/ 242602 h 484219"/>
              <a:gd name="connsiteX9" fmla="*/ 405447 w 790955"/>
              <a:gd name="connsiteY9" fmla="*/ 2508 h 484219"/>
              <a:gd name="connsiteX10" fmla="*/ 388557 w 790955"/>
              <a:gd name="connsiteY10" fmla="*/ 2445 h 484219"/>
              <a:gd name="connsiteX11" fmla="*/ 11620 w 790955"/>
              <a:gd name="connsiteY11" fmla="*/ 242284 h 484219"/>
              <a:gd name="connsiteX12" fmla="*/ 0 w 790955"/>
              <a:gd name="connsiteY12" fmla="*/ 262477 h 484219"/>
              <a:gd name="connsiteX13" fmla="*/ 0 w 790955"/>
              <a:gd name="connsiteY13" fmla="*/ 304832 h 484219"/>
              <a:gd name="connsiteX14" fmla="*/ 127 w 790955"/>
              <a:gd name="connsiteY14" fmla="*/ 366681 h 48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90955" h="484219">
                <a:moveTo>
                  <a:pt x="190" y="366554"/>
                </a:moveTo>
                <a:cubicBezTo>
                  <a:pt x="190" y="401098"/>
                  <a:pt x="190" y="431769"/>
                  <a:pt x="190" y="459835"/>
                </a:cubicBezTo>
                <a:cubicBezTo>
                  <a:pt x="190" y="473298"/>
                  <a:pt x="11113" y="484220"/>
                  <a:pt x="24574" y="484220"/>
                </a:cubicBezTo>
                <a:lnTo>
                  <a:pt x="766572" y="484220"/>
                </a:lnTo>
                <a:cubicBezTo>
                  <a:pt x="780034" y="484220"/>
                  <a:pt x="790956" y="473298"/>
                  <a:pt x="790956" y="459835"/>
                </a:cubicBezTo>
                <a:lnTo>
                  <a:pt x="790956" y="364458"/>
                </a:lnTo>
                <a:lnTo>
                  <a:pt x="790829" y="295116"/>
                </a:lnTo>
                <a:lnTo>
                  <a:pt x="790829" y="261334"/>
                </a:lnTo>
                <a:cubicBezTo>
                  <a:pt x="790194" y="253714"/>
                  <a:pt x="786257" y="246729"/>
                  <a:pt x="779780" y="242602"/>
                </a:cubicBezTo>
                <a:lnTo>
                  <a:pt x="405447" y="2508"/>
                </a:lnTo>
                <a:cubicBezTo>
                  <a:pt x="400304" y="-793"/>
                  <a:pt x="393764" y="-857"/>
                  <a:pt x="388557" y="2445"/>
                </a:cubicBezTo>
                <a:cubicBezTo>
                  <a:pt x="287972" y="66072"/>
                  <a:pt x="64262" y="208757"/>
                  <a:pt x="11620" y="242284"/>
                </a:cubicBezTo>
                <a:cubicBezTo>
                  <a:pt x="4699" y="246666"/>
                  <a:pt x="127" y="254286"/>
                  <a:pt x="0" y="262477"/>
                </a:cubicBezTo>
                <a:lnTo>
                  <a:pt x="0" y="304832"/>
                </a:lnTo>
                <a:cubicBezTo>
                  <a:pt x="0" y="304832"/>
                  <a:pt x="127" y="366681"/>
                  <a:pt x="127" y="366681"/>
                </a:cubicBez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B6F70407-6878-9677-7C8B-DE2710F6374A}"/>
              </a:ext>
            </a:extLst>
          </p:cNvPr>
          <p:cNvSpPr/>
          <p:nvPr userDrawn="1"/>
        </p:nvSpPr>
        <p:spPr>
          <a:xfrm>
            <a:off x="4792979" y="5161335"/>
            <a:ext cx="790892" cy="956907"/>
          </a:xfrm>
          <a:custGeom>
            <a:avLst/>
            <a:gdLst>
              <a:gd name="connsiteX0" fmla="*/ 19304 w 790892"/>
              <a:gd name="connsiteY0" fmla="*/ 956128 h 956907"/>
              <a:gd name="connsiteX1" fmla="*/ 445 w 790892"/>
              <a:gd name="connsiteY1" fmla="*/ 942602 h 956907"/>
              <a:gd name="connsiteX2" fmla="*/ 127 w 790892"/>
              <a:gd name="connsiteY2" fmla="*/ 366593 h 956907"/>
              <a:gd name="connsiteX3" fmla="*/ 0 w 790892"/>
              <a:gd name="connsiteY3" fmla="*/ 304744 h 956907"/>
              <a:gd name="connsiteX4" fmla="*/ 0 w 790892"/>
              <a:gd name="connsiteY4" fmla="*/ 262390 h 956907"/>
              <a:gd name="connsiteX5" fmla="*/ 11621 w 790892"/>
              <a:gd name="connsiteY5" fmla="*/ 242261 h 956907"/>
              <a:gd name="connsiteX6" fmla="*/ 388557 w 790892"/>
              <a:gd name="connsiteY6" fmla="*/ 2421 h 956907"/>
              <a:gd name="connsiteX7" fmla="*/ 405448 w 790892"/>
              <a:gd name="connsiteY7" fmla="*/ 2485 h 956907"/>
              <a:gd name="connsiteX8" fmla="*/ 779780 w 790892"/>
              <a:gd name="connsiteY8" fmla="*/ 242578 h 956907"/>
              <a:gd name="connsiteX9" fmla="*/ 790766 w 790892"/>
              <a:gd name="connsiteY9" fmla="*/ 261311 h 956907"/>
              <a:gd name="connsiteX10" fmla="*/ 790766 w 790892"/>
              <a:gd name="connsiteY10" fmla="*/ 295093 h 956907"/>
              <a:gd name="connsiteX11" fmla="*/ 790892 w 790892"/>
              <a:gd name="connsiteY11" fmla="*/ 364435 h 956907"/>
              <a:gd name="connsiteX12" fmla="*/ 790892 w 790892"/>
              <a:gd name="connsiteY12" fmla="*/ 942602 h 956907"/>
              <a:gd name="connsiteX13" fmla="*/ 772097 w 790892"/>
              <a:gd name="connsiteY13" fmla="*/ 956064 h 956907"/>
              <a:gd name="connsiteX14" fmla="*/ 405321 w 790892"/>
              <a:gd name="connsiteY14" fmla="*/ 830715 h 956907"/>
              <a:gd name="connsiteX15" fmla="*/ 386334 w 790892"/>
              <a:gd name="connsiteY15" fmla="*/ 830715 h 956907"/>
              <a:gd name="connsiteX16" fmla="*/ 19367 w 790892"/>
              <a:gd name="connsiteY16" fmla="*/ 956000 h 956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90892" h="956907">
                <a:moveTo>
                  <a:pt x="19304" y="956128"/>
                </a:moveTo>
                <a:cubicBezTo>
                  <a:pt x="10097" y="959303"/>
                  <a:pt x="508" y="952381"/>
                  <a:pt x="445" y="942602"/>
                </a:cubicBezTo>
                <a:cubicBezTo>
                  <a:pt x="127" y="674378"/>
                  <a:pt x="127" y="625800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9"/>
                  <a:pt x="4699" y="246642"/>
                  <a:pt x="11621" y="242261"/>
                </a:cubicBezTo>
                <a:cubicBezTo>
                  <a:pt x="64262" y="208732"/>
                  <a:pt x="288036" y="66048"/>
                  <a:pt x="388557" y="2421"/>
                </a:cubicBezTo>
                <a:cubicBezTo>
                  <a:pt x="393700" y="-818"/>
                  <a:pt x="400304" y="-818"/>
                  <a:pt x="405448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3"/>
                </a:lnTo>
                <a:cubicBezTo>
                  <a:pt x="790766" y="295093"/>
                  <a:pt x="790892" y="364435"/>
                  <a:pt x="790892" y="364435"/>
                </a:cubicBezTo>
                <a:lnTo>
                  <a:pt x="790892" y="942602"/>
                </a:lnTo>
                <a:cubicBezTo>
                  <a:pt x="790892" y="952381"/>
                  <a:pt x="781304" y="959239"/>
                  <a:pt x="772097" y="956064"/>
                </a:cubicBezTo>
                <a:lnTo>
                  <a:pt x="405321" y="830715"/>
                </a:lnTo>
                <a:cubicBezTo>
                  <a:pt x="399161" y="828619"/>
                  <a:pt x="392494" y="828619"/>
                  <a:pt x="386334" y="830715"/>
                </a:cubicBezTo>
                <a:lnTo>
                  <a:pt x="19367" y="95600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4A0D345C-BA74-074C-2339-523DEF1EBD63}"/>
              </a:ext>
            </a:extLst>
          </p:cNvPr>
          <p:cNvSpPr/>
          <p:nvPr userDrawn="1"/>
        </p:nvSpPr>
        <p:spPr>
          <a:xfrm>
            <a:off x="4792916" y="6118383"/>
            <a:ext cx="790955" cy="484219"/>
          </a:xfrm>
          <a:custGeom>
            <a:avLst/>
            <a:gdLst>
              <a:gd name="connsiteX0" fmla="*/ 191 w 790955"/>
              <a:gd name="connsiteY0" fmla="*/ 366554 h 484219"/>
              <a:gd name="connsiteX1" fmla="*/ 191 w 790955"/>
              <a:gd name="connsiteY1" fmla="*/ 459835 h 484219"/>
              <a:gd name="connsiteX2" fmla="*/ 24574 w 790955"/>
              <a:gd name="connsiteY2" fmla="*/ 484220 h 484219"/>
              <a:gd name="connsiteX3" fmla="*/ 766572 w 790955"/>
              <a:gd name="connsiteY3" fmla="*/ 484220 h 484219"/>
              <a:gd name="connsiteX4" fmla="*/ 790956 w 790955"/>
              <a:gd name="connsiteY4" fmla="*/ 459835 h 484219"/>
              <a:gd name="connsiteX5" fmla="*/ 790956 w 790955"/>
              <a:gd name="connsiteY5" fmla="*/ 364458 h 484219"/>
              <a:gd name="connsiteX6" fmla="*/ 790829 w 790955"/>
              <a:gd name="connsiteY6" fmla="*/ 295116 h 484219"/>
              <a:gd name="connsiteX7" fmla="*/ 790829 w 790955"/>
              <a:gd name="connsiteY7" fmla="*/ 261334 h 484219"/>
              <a:gd name="connsiteX8" fmla="*/ 779780 w 790955"/>
              <a:gd name="connsiteY8" fmla="*/ 242602 h 484219"/>
              <a:gd name="connsiteX9" fmla="*/ 405448 w 790955"/>
              <a:gd name="connsiteY9" fmla="*/ 2508 h 484219"/>
              <a:gd name="connsiteX10" fmla="*/ 388557 w 790955"/>
              <a:gd name="connsiteY10" fmla="*/ 2445 h 484219"/>
              <a:gd name="connsiteX11" fmla="*/ 11621 w 790955"/>
              <a:gd name="connsiteY11" fmla="*/ 242284 h 484219"/>
              <a:gd name="connsiteX12" fmla="*/ 0 w 790955"/>
              <a:gd name="connsiteY12" fmla="*/ 262477 h 484219"/>
              <a:gd name="connsiteX13" fmla="*/ 0 w 790955"/>
              <a:gd name="connsiteY13" fmla="*/ 304832 h 484219"/>
              <a:gd name="connsiteX14" fmla="*/ 127 w 790955"/>
              <a:gd name="connsiteY14" fmla="*/ 366681 h 48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90955" h="484219">
                <a:moveTo>
                  <a:pt x="191" y="366554"/>
                </a:moveTo>
                <a:cubicBezTo>
                  <a:pt x="191" y="401098"/>
                  <a:pt x="191" y="431769"/>
                  <a:pt x="191" y="459835"/>
                </a:cubicBezTo>
                <a:cubicBezTo>
                  <a:pt x="191" y="473298"/>
                  <a:pt x="11113" y="484220"/>
                  <a:pt x="24574" y="484220"/>
                </a:cubicBezTo>
                <a:lnTo>
                  <a:pt x="766572" y="484220"/>
                </a:lnTo>
                <a:cubicBezTo>
                  <a:pt x="780034" y="484220"/>
                  <a:pt x="790956" y="473298"/>
                  <a:pt x="790956" y="459835"/>
                </a:cubicBezTo>
                <a:lnTo>
                  <a:pt x="790956" y="364458"/>
                </a:lnTo>
                <a:lnTo>
                  <a:pt x="790829" y="295116"/>
                </a:lnTo>
                <a:lnTo>
                  <a:pt x="790829" y="261334"/>
                </a:lnTo>
                <a:cubicBezTo>
                  <a:pt x="790194" y="253714"/>
                  <a:pt x="786257" y="246729"/>
                  <a:pt x="779780" y="242602"/>
                </a:cubicBezTo>
                <a:lnTo>
                  <a:pt x="405448" y="2508"/>
                </a:lnTo>
                <a:cubicBezTo>
                  <a:pt x="400304" y="-793"/>
                  <a:pt x="393764" y="-857"/>
                  <a:pt x="388557" y="2445"/>
                </a:cubicBezTo>
                <a:cubicBezTo>
                  <a:pt x="287973" y="66072"/>
                  <a:pt x="64262" y="208757"/>
                  <a:pt x="11621" y="242284"/>
                </a:cubicBezTo>
                <a:cubicBezTo>
                  <a:pt x="4699" y="246666"/>
                  <a:pt x="127" y="254286"/>
                  <a:pt x="0" y="262477"/>
                </a:cubicBezTo>
                <a:lnTo>
                  <a:pt x="0" y="304832"/>
                </a:lnTo>
                <a:cubicBezTo>
                  <a:pt x="0" y="304832"/>
                  <a:pt x="127" y="366681"/>
                  <a:pt x="127" y="366681"/>
                </a:cubicBez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90D735B8-109C-1D1E-29B3-42DA845B7377}"/>
              </a:ext>
            </a:extLst>
          </p:cNvPr>
          <p:cNvSpPr/>
          <p:nvPr userDrawn="1"/>
        </p:nvSpPr>
        <p:spPr>
          <a:xfrm>
            <a:off x="5700585" y="5639998"/>
            <a:ext cx="790892" cy="962541"/>
          </a:xfrm>
          <a:custGeom>
            <a:avLst/>
            <a:gdLst>
              <a:gd name="connsiteX0" fmla="*/ 676211 w 790892"/>
              <a:gd name="connsiteY0" fmla="*/ 962478 h 962541"/>
              <a:gd name="connsiteX1" fmla="*/ 24892 w 790892"/>
              <a:gd name="connsiteY1" fmla="*/ 962478 h 962541"/>
              <a:gd name="connsiteX2" fmla="*/ 445 w 790892"/>
              <a:gd name="connsiteY2" fmla="*/ 938030 h 962541"/>
              <a:gd name="connsiteX3" fmla="*/ 127 w 790892"/>
              <a:gd name="connsiteY3" fmla="*/ 366593 h 962541"/>
              <a:gd name="connsiteX4" fmla="*/ 0 w 790892"/>
              <a:gd name="connsiteY4" fmla="*/ 304744 h 962541"/>
              <a:gd name="connsiteX5" fmla="*/ 0 w 790892"/>
              <a:gd name="connsiteY5" fmla="*/ 262390 h 962541"/>
              <a:gd name="connsiteX6" fmla="*/ 11621 w 790892"/>
              <a:gd name="connsiteY6" fmla="*/ 242261 h 962541"/>
              <a:gd name="connsiteX7" fmla="*/ 388557 w 790892"/>
              <a:gd name="connsiteY7" fmla="*/ 2421 h 962541"/>
              <a:gd name="connsiteX8" fmla="*/ 405448 w 790892"/>
              <a:gd name="connsiteY8" fmla="*/ 2485 h 962541"/>
              <a:gd name="connsiteX9" fmla="*/ 779780 w 790892"/>
              <a:gd name="connsiteY9" fmla="*/ 242578 h 962541"/>
              <a:gd name="connsiteX10" fmla="*/ 790766 w 790892"/>
              <a:gd name="connsiteY10" fmla="*/ 261311 h 962541"/>
              <a:gd name="connsiteX11" fmla="*/ 790766 w 790892"/>
              <a:gd name="connsiteY11" fmla="*/ 295092 h 962541"/>
              <a:gd name="connsiteX12" fmla="*/ 790893 w 790892"/>
              <a:gd name="connsiteY12" fmla="*/ 364435 h 962541"/>
              <a:gd name="connsiteX13" fmla="*/ 790893 w 790892"/>
              <a:gd name="connsiteY13" fmla="*/ 938157 h 962541"/>
              <a:gd name="connsiteX14" fmla="*/ 766509 w 790892"/>
              <a:gd name="connsiteY14" fmla="*/ 962541 h 962541"/>
              <a:gd name="connsiteX15" fmla="*/ 676211 w 790892"/>
              <a:gd name="connsiteY15" fmla="*/ 962541 h 96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90892" h="962541">
                <a:moveTo>
                  <a:pt x="676211" y="962478"/>
                </a:moveTo>
                <a:lnTo>
                  <a:pt x="24892" y="962478"/>
                </a:lnTo>
                <a:cubicBezTo>
                  <a:pt x="11493" y="962478"/>
                  <a:pt x="445" y="951429"/>
                  <a:pt x="445" y="938030"/>
                </a:cubicBezTo>
                <a:cubicBezTo>
                  <a:pt x="127" y="673806"/>
                  <a:pt x="127" y="624277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8"/>
                  <a:pt x="4699" y="246642"/>
                  <a:pt x="11621" y="242261"/>
                </a:cubicBezTo>
                <a:cubicBezTo>
                  <a:pt x="64262" y="208732"/>
                  <a:pt x="288036" y="66048"/>
                  <a:pt x="388557" y="2421"/>
                </a:cubicBezTo>
                <a:cubicBezTo>
                  <a:pt x="393700" y="-818"/>
                  <a:pt x="400304" y="-818"/>
                  <a:pt x="405448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2"/>
                </a:lnTo>
                <a:cubicBezTo>
                  <a:pt x="790766" y="295092"/>
                  <a:pt x="790893" y="364435"/>
                  <a:pt x="790893" y="364435"/>
                </a:cubicBezTo>
                <a:lnTo>
                  <a:pt x="790893" y="938157"/>
                </a:lnTo>
                <a:cubicBezTo>
                  <a:pt x="790893" y="951619"/>
                  <a:pt x="779971" y="962541"/>
                  <a:pt x="766509" y="962541"/>
                </a:cubicBezTo>
                <a:lnTo>
                  <a:pt x="676211" y="962541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C9793DFC-005E-5573-223B-59EF637AD3A6}"/>
              </a:ext>
            </a:extLst>
          </p:cNvPr>
          <p:cNvSpPr/>
          <p:nvPr userDrawn="1"/>
        </p:nvSpPr>
        <p:spPr>
          <a:xfrm>
            <a:off x="7515732" y="5639998"/>
            <a:ext cx="790892" cy="962541"/>
          </a:xfrm>
          <a:custGeom>
            <a:avLst/>
            <a:gdLst>
              <a:gd name="connsiteX0" fmla="*/ 676211 w 790892"/>
              <a:gd name="connsiteY0" fmla="*/ 962478 h 962541"/>
              <a:gd name="connsiteX1" fmla="*/ 24892 w 790892"/>
              <a:gd name="connsiteY1" fmla="*/ 962478 h 962541"/>
              <a:gd name="connsiteX2" fmla="*/ 445 w 790892"/>
              <a:gd name="connsiteY2" fmla="*/ 938030 h 962541"/>
              <a:gd name="connsiteX3" fmla="*/ 127 w 790892"/>
              <a:gd name="connsiteY3" fmla="*/ 366593 h 962541"/>
              <a:gd name="connsiteX4" fmla="*/ 0 w 790892"/>
              <a:gd name="connsiteY4" fmla="*/ 304744 h 962541"/>
              <a:gd name="connsiteX5" fmla="*/ 0 w 790892"/>
              <a:gd name="connsiteY5" fmla="*/ 262390 h 962541"/>
              <a:gd name="connsiteX6" fmla="*/ 11621 w 790892"/>
              <a:gd name="connsiteY6" fmla="*/ 242261 h 962541"/>
              <a:gd name="connsiteX7" fmla="*/ 388557 w 790892"/>
              <a:gd name="connsiteY7" fmla="*/ 2421 h 962541"/>
              <a:gd name="connsiteX8" fmla="*/ 405448 w 790892"/>
              <a:gd name="connsiteY8" fmla="*/ 2485 h 962541"/>
              <a:gd name="connsiteX9" fmla="*/ 779780 w 790892"/>
              <a:gd name="connsiteY9" fmla="*/ 242578 h 962541"/>
              <a:gd name="connsiteX10" fmla="*/ 790766 w 790892"/>
              <a:gd name="connsiteY10" fmla="*/ 261311 h 962541"/>
              <a:gd name="connsiteX11" fmla="*/ 790766 w 790892"/>
              <a:gd name="connsiteY11" fmla="*/ 295092 h 962541"/>
              <a:gd name="connsiteX12" fmla="*/ 790893 w 790892"/>
              <a:gd name="connsiteY12" fmla="*/ 364435 h 962541"/>
              <a:gd name="connsiteX13" fmla="*/ 790893 w 790892"/>
              <a:gd name="connsiteY13" fmla="*/ 938157 h 962541"/>
              <a:gd name="connsiteX14" fmla="*/ 766509 w 790892"/>
              <a:gd name="connsiteY14" fmla="*/ 962541 h 962541"/>
              <a:gd name="connsiteX15" fmla="*/ 676211 w 790892"/>
              <a:gd name="connsiteY15" fmla="*/ 962541 h 96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90892" h="962541">
                <a:moveTo>
                  <a:pt x="676211" y="962478"/>
                </a:moveTo>
                <a:lnTo>
                  <a:pt x="24892" y="962478"/>
                </a:lnTo>
                <a:cubicBezTo>
                  <a:pt x="11494" y="962478"/>
                  <a:pt x="445" y="951429"/>
                  <a:pt x="445" y="938030"/>
                </a:cubicBezTo>
                <a:cubicBezTo>
                  <a:pt x="127" y="673806"/>
                  <a:pt x="127" y="624277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8"/>
                  <a:pt x="4699" y="246642"/>
                  <a:pt x="11621" y="242261"/>
                </a:cubicBezTo>
                <a:cubicBezTo>
                  <a:pt x="64262" y="208732"/>
                  <a:pt x="288036" y="66048"/>
                  <a:pt x="388557" y="2421"/>
                </a:cubicBezTo>
                <a:cubicBezTo>
                  <a:pt x="393700" y="-818"/>
                  <a:pt x="400304" y="-818"/>
                  <a:pt x="405448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2"/>
                </a:lnTo>
                <a:cubicBezTo>
                  <a:pt x="790766" y="295092"/>
                  <a:pt x="790893" y="364435"/>
                  <a:pt x="790893" y="364435"/>
                </a:cubicBezTo>
                <a:lnTo>
                  <a:pt x="790893" y="938157"/>
                </a:lnTo>
                <a:cubicBezTo>
                  <a:pt x="790893" y="951619"/>
                  <a:pt x="779971" y="962541"/>
                  <a:pt x="766509" y="962541"/>
                </a:cubicBezTo>
                <a:lnTo>
                  <a:pt x="676211" y="962541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A6EF4F8F-68CD-1166-12E0-E9DBEB343F4B}"/>
              </a:ext>
            </a:extLst>
          </p:cNvPr>
          <p:cNvSpPr/>
          <p:nvPr userDrawn="1"/>
        </p:nvSpPr>
        <p:spPr>
          <a:xfrm>
            <a:off x="9330880" y="5639998"/>
            <a:ext cx="790892" cy="962541"/>
          </a:xfrm>
          <a:custGeom>
            <a:avLst/>
            <a:gdLst>
              <a:gd name="connsiteX0" fmla="*/ 676211 w 790892"/>
              <a:gd name="connsiteY0" fmla="*/ 962478 h 962541"/>
              <a:gd name="connsiteX1" fmla="*/ 24892 w 790892"/>
              <a:gd name="connsiteY1" fmla="*/ 962478 h 962541"/>
              <a:gd name="connsiteX2" fmla="*/ 444 w 790892"/>
              <a:gd name="connsiteY2" fmla="*/ 938030 h 962541"/>
              <a:gd name="connsiteX3" fmla="*/ 126 w 790892"/>
              <a:gd name="connsiteY3" fmla="*/ 366593 h 962541"/>
              <a:gd name="connsiteX4" fmla="*/ 0 w 790892"/>
              <a:gd name="connsiteY4" fmla="*/ 304744 h 962541"/>
              <a:gd name="connsiteX5" fmla="*/ 0 w 790892"/>
              <a:gd name="connsiteY5" fmla="*/ 262390 h 962541"/>
              <a:gd name="connsiteX6" fmla="*/ 11620 w 790892"/>
              <a:gd name="connsiteY6" fmla="*/ 242261 h 962541"/>
              <a:gd name="connsiteX7" fmla="*/ 388556 w 790892"/>
              <a:gd name="connsiteY7" fmla="*/ 2421 h 962541"/>
              <a:gd name="connsiteX8" fmla="*/ 405447 w 790892"/>
              <a:gd name="connsiteY8" fmla="*/ 2485 h 962541"/>
              <a:gd name="connsiteX9" fmla="*/ 779780 w 790892"/>
              <a:gd name="connsiteY9" fmla="*/ 242578 h 962541"/>
              <a:gd name="connsiteX10" fmla="*/ 790765 w 790892"/>
              <a:gd name="connsiteY10" fmla="*/ 261311 h 962541"/>
              <a:gd name="connsiteX11" fmla="*/ 790765 w 790892"/>
              <a:gd name="connsiteY11" fmla="*/ 295092 h 962541"/>
              <a:gd name="connsiteX12" fmla="*/ 790892 w 790892"/>
              <a:gd name="connsiteY12" fmla="*/ 364435 h 962541"/>
              <a:gd name="connsiteX13" fmla="*/ 790892 w 790892"/>
              <a:gd name="connsiteY13" fmla="*/ 938157 h 962541"/>
              <a:gd name="connsiteX14" fmla="*/ 766508 w 790892"/>
              <a:gd name="connsiteY14" fmla="*/ 962541 h 962541"/>
              <a:gd name="connsiteX15" fmla="*/ 676211 w 790892"/>
              <a:gd name="connsiteY15" fmla="*/ 962541 h 96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90892" h="962541">
                <a:moveTo>
                  <a:pt x="676211" y="962478"/>
                </a:moveTo>
                <a:lnTo>
                  <a:pt x="24892" y="962478"/>
                </a:lnTo>
                <a:cubicBezTo>
                  <a:pt x="11493" y="962478"/>
                  <a:pt x="444" y="951429"/>
                  <a:pt x="444" y="938030"/>
                </a:cubicBezTo>
                <a:cubicBezTo>
                  <a:pt x="126" y="673806"/>
                  <a:pt x="126" y="624277"/>
                  <a:pt x="126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6" y="254198"/>
                  <a:pt x="4699" y="246642"/>
                  <a:pt x="11620" y="242261"/>
                </a:cubicBezTo>
                <a:cubicBezTo>
                  <a:pt x="64262" y="208732"/>
                  <a:pt x="288036" y="66048"/>
                  <a:pt x="388556" y="2421"/>
                </a:cubicBezTo>
                <a:cubicBezTo>
                  <a:pt x="393700" y="-818"/>
                  <a:pt x="400303" y="-818"/>
                  <a:pt x="405447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5" y="261311"/>
                </a:cubicBezTo>
                <a:lnTo>
                  <a:pt x="790765" y="295092"/>
                </a:lnTo>
                <a:cubicBezTo>
                  <a:pt x="790765" y="295092"/>
                  <a:pt x="790892" y="364435"/>
                  <a:pt x="790892" y="364435"/>
                </a:cubicBezTo>
                <a:lnTo>
                  <a:pt x="790892" y="938157"/>
                </a:lnTo>
                <a:cubicBezTo>
                  <a:pt x="790892" y="951619"/>
                  <a:pt x="779970" y="962541"/>
                  <a:pt x="766508" y="962541"/>
                </a:cubicBezTo>
                <a:lnTo>
                  <a:pt x="676211" y="962541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248CF64F-4A07-5362-EA9A-881C782E5150}"/>
              </a:ext>
            </a:extLst>
          </p:cNvPr>
          <p:cNvSpPr/>
          <p:nvPr userDrawn="1"/>
        </p:nvSpPr>
        <p:spPr>
          <a:xfrm>
            <a:off x="11146028" y="5639998"/>
            <a:ext cx="790892" cy="962541"/>
          </a:xfrm>
          <a:custGeom>
            <a:avLst/>
            <a:gdLst>
              <a:gd name="connsiteX0" fmla="*/ 676211 w 790892"/>
              <a:gd name="connsiteY0" fmla="*/ 962478 h 962541"/>
              <a:gd name="connsiteX1" fmla="*/ 24892 w 790892"/>
              <a:gd name="connsiteY1" fmla="*/ 962478 h 962541"/>
              <a:gd name="connsiteX2" fmla="*/ 444 w 790892"/>
              <a:gd name="connsiteY2" fmla="*/ 938030 h 962541"/>
              <a:gd name="connsiteX3" fmla="*/ 127 w 790892"/>
              <a:gd name="connsiteY3" fmla="*/ 366593 h 962541"/>
              <a:gd name="connsiteX4" fmla="*/ 0 w 790892"/>
              <a:gd name="connsiteY4" fmla="*/ 304744 h 962541"/>
              <a:gd name="connsiteX5" fmla="*/ 0 w 790892"/>
              <a:gd name="connsiteY5" fmla="*/ 262390 h 962541"/>
              <a:gd name="connsiteX6" fmla="*/ 11620 w 790892"/>
              <a:gd name="connsiteY6" fmla="*/ 242261 h 962541"/>
              <a:gd name="connsiteX7" fmla="*/ 388556 w 790892"/>
              <a:gd name="connsiteY7" fmla="*/ 2421 h 962541"/>
              <a:gd name="connsiteX8" fmla="*/ 405447 w 790892"/>
              <a:gd name="connsiteY8" fmla="*/ 2485 h 962541"/>
              <a:gd name="connsiteX9" fmla="*/ 779780 w 790892"/>
              <a:gd name="connsiteY9" fmla="*/ 242578 h 962541"/>
              <a:gd name="connsiteX10" fmla="*/ 790766 w 790892"/>
              <a:gd name="connsiteY10" fmla="*/ 261311 h 962541"/>
              <a:gd name="connsiteX11" fmla="*/ 790766 w 790892"/>
              <a:gd name="connsiteY11" fmla="*/ 295092 h 962541"/>
              <a:gd name="connsiteX12" fmla="*/ 790892 w 790892"/>
              <a:gd name="connsiteY12" fmla="*/ 364435 h 962541"/>
              <a:gd name="connsiteX13" fmla="*/ 790892 w 790892"/>
              <a:gd name="connsiteY13" fmla="*/ 938157 h 962541"/>
              <a:gd name="connsiteX14" fmla="*/ 766508 w 790892"/>
              <a:gd name="connsiteY14" fmla="*/ 962541 h 962541"/>
              <a:gd name="connsiteX15" fmla="*/ 676211 w 790892"/>
              <a:gd name="connsiteY15" fmla="*/ 962541 h 96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90892" h="962541">
                <a:moveTo>
                  <a:pt x="676211" y="962478"/>
                </a:moveTo>
                <a:lnTo>
                  <a:pt x="24892" y="962478"/>
                </a:lnTo>
                <a:cubicBezTo>
                  <a:pt x="11493" y="962478"/>
                  <a:pt x="444" y="951429"/>
                  <a:pt x="444" y="938030"/>
                </a:cubicBezTo>
                <a:cubicBezTo>
                  <a:pt x="127" y="673806"/>
                  <a:pt x="127" y="624277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8"/>
                  <a:pt x="4699" y="246642"/>
                  <a:pt x="11620" y="242261"/>
                </a:cubicBezTo>
                <a:cubicBezTo>
                  <a:pt x="64262" y="208732"/>
                  <a:pt x="288036" y="66048"/>
                  <a:pt x="388556" y="2421"/>
                </a:cubicBezTo>
                <a:cubicBezTo>
                  <a:pt x="393700" y="-818"/>
                  <a:pt x="400303" y="-818"/>
                  <a:pt x="405447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2"/>
                </a:lnTo>
                <a:cubicBezTo>
                  <a:pt x="790766" y="295092"/>
                  <a:pt x="790892" y="364435"/>
                  <a:pt x="790892" y="364435"/>
                </a:cubicBezTo>
                <a:lnTo>
                  <a:pt x="790892" y="938157"/>
                </a:lnTo>
                <a:cubicBezTo>
                  <a:pt x="790892" y="951619"/>
                  <a:pt x="779970" y="962541"/>
                  <a:pt x="766508" y="962541"/>
                </a:cubicBezTo>
                <a:lnTo>
                  <a:pt x="676211" y="962541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0" name="Freeform 19">
            <a:extLst>
              <a:ext uri="{FF2B5EF4-FFF2-40B4-BE49-F238E27FC236}">
                <a16:creationId xmlns:a16="http://schemas.microsoft.com/office/drawing/2014/main" id="{61D069F3-B2D0-F1C9-B1D2-5C51281F129D}"/>
              </a:ext>
            </a:extLst>
          </p:cNvPr>
          <p:cNvSpPr/>
          <p:nvPr userDrawn="1"/>
        </p:nvSpPr>
        <p:spPr>
          <a:xfrm>
            <a:off x="6608127" y="5161335"/>
            <a:ext cx="790892" cy="956907"/>
          </a:xfrm>
          <a:custGeom>
            <a:avLst/>
            <a:gdLst>
              <a:gd name="connsiteX0" fmla="*/ 19303 w 790892"/>
              <a:gd name="connsiteY0" fmla="*/ 956128 h 956907"/>
              <a:gd name="connsiteX1" fmla="*/ 444 w 790892"/>
              <a:gd name="connsiteY1" fmla="*/ 942602 h 956907"/>
              <a:gd name="connsiteX2" fmla="*/ 127 w 790892"/>
              <a:gd name="connsiteY2" fmla="*/ 366593 h 956907"/>
              <a:gd name="connsiteX3" fmla="*/ 0 w 790892"/>
              <a:gd name="connsiteY3" fmla="*/ 304744 h 956907"/>
              <a:gd name="connsiteX4" fmla="*/ 0 w 790892"/>
              <a:gd name="connsiteY4" fmla="*/ 262390 h 956907"/>
              <a:gd name="connsiteX5" fmla="*/ 11620 w 790892"/>
              <a:gd name="connsiteY5" fmla="*/ 242261 h 956907"/>
              <a:gd name="connsiteX6" fmla="*/ 388556 w 790892"/>
              <a:gd name="connsiteY6" fmla="*/ 2421 h 956907"/>
              <a:gd name="connsiteX7" fmla="*/ 405447 w 790892"/>
              <a:gd name="connsiteY7" fmla="*/ 2485 h 956907"/>
              <a:gd name="connsiteX8" fmla="*/ 779780 w 790892"/>
              <a:gd name="connsiteY8" fmla="*/ 242578 h 956907"/>
              <a:gd name="connsiteX9" fmla="*/ 790766 w 790892"/>
              <a:gd name="connsiteY9" fmla="*/ 261311 h 956907"/>
              <a:gd name="connsiteX10" fmla="*/ 790766 w 790892"/>
              <a:gd name="connsiteY10" fmla="*/ 295093 h 956907"/>
              <a:gd name="connsiteX11" fmla="*/ 790892 w 790892"/>
              <a:gd name="connsiteY11" fmla="*/ 364435 h 956907"/>
              <a:gd name="connsiteX12" fmla="*/ 790892 w 790892"/>
              <a:gd name="connsiteY12" fmla="*/ 942602 h 956907"/>
              <a:gd name="connsiteX13" fmla="*/ 772096 w 790892"/>
              <a:gd name="connsiteY13" fmla="*/ 956064 h 956907"/>
              <a:gd name="connsiteX14" fmla="*/ 405320 w 790892"/>
              <a:gd name="connsiteY14" fmla="*/ 830715 h 956907"/>
              <a:gd name="connsiteX15" fmla="*/ 386334 w 790892"/>
              <a:gd name="connsiteY15" fmla="*/ 830715 h 956907"/>
              <a:gd name="connsiteX16" fmla="*/ 19367 w 790892"/>
              <a:gd name="connsiteY16" fmla="*/ 956000 h 956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90892" h="956907">
                <a:moveTo>
                  <a:pt x="19303" y="956128"/>
                </a:moveTo>
                <a:cubicBezTo>
                  <a:pt x="10096" y="959303"/>
                  <a:pt x="508" y="952381"/>
                  <a:pt x="444" y="942602"/>
                </a:cubicBezTo>
                <a:cubicBezTo>
                  <a:pt x="127" y="674378"/>
                  <a:pt x="127" y="625800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9"/>
                  <a:pt x="4699" y="246642"/>
                  <a:pt x="11620" y="242261"/>
                </a:cubicBezTo>
                <a:cubicBezTo>
                  <a:pt x="64262" y="208732"/>
                  <a:pt x="288036" y="66048"/>
                  <a:pt x="388556" y="2421"/>
                </a:cubicBezTo>
                <a:cubicBezTo>
                  <a:pt x="393700" y="-818"/>
                  <a:pt x="400303" y="-818"/>
                  <a:pt x="405447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3"/>
                </a:lnTo>
                <a:cubicBezTo>
                  <a:pt x="790766" y="295093"/>
                  <a:pt x="790892" y="364435"/>
                  <a:pt x="790892" y="364435"/>
                </a:cubicBezTo>
                <a:lnTo>
                  <a:pt x="790892" y="942602"/>
                </a:lnTo>
                <a:cubicBezTo>
                  <a:pt x="790892" y="952381"/>
                  <a:pt x="781304" y="959239"/>
                  <a:pt x="772096" y="956064"/>
                </a:cubicBezTo>
                <a:lnTo>
                  <a:pt x="405320" y="830715"/>
                </a:lnTo>
                <a:cubicBezTo>
                  <a:pt x="399161" y="828619"/>
                  <a:pt x="392493" y="828619"/>
                  <a:pt x="386334" y="830715"/>
                </a:cubicBezTo>
                <a:lnTo>
                  <a:pt x="19367" y="95600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4163346D-3F6B-3B86-5084-09FFE7F17AFA}"/>
              </a:ext>
            </a:extLst>
          </p:cNvPr>
          <p:cNvSpPr/>
          <p:nvPr userDrawn="1"/>
        </p:nvSpPr>
        <p:spPr>
          <a:xfrm>
            <a:off x="6608064" y="6118383"/>
            <a:ext cx="790955" cy="484219"/>
          </a:xfrm>
          <a:custGeom>
            <a:avLst/>
            <a:gdLst>
              <a:gd name="connsiteX0" fmla="*/ 191 w 790955"/>
              <a:gd name="connsiteY0" fmla="*/ 366554 h 484219"/>
              <a:gd name="connsiteX1" fmla="*/ 191 w 790955"/>
              <a:gd name="connsiteY1" fmla="*/ 459835 h 484219"/>
              <a:gd name="connsiteX2" fmla="*/ 24574 w 790955"/>
              <a:gd name="connsiteY2" fmla="*/ 484220 h 484219"/>
              <a:gd name="connsiteX3" fmla="*/ 766572 w 790955"/>
              <a:gd name="connsiteY3" fmla="*/ 484220 h 484219"/>
              <a:gd name="connsiteX4" fmla="*/ 790956 w 790955"/>
              <a:gd name="connsiteY4" fmla="*/ 459835 h 484219"/>
              <a:gd name="connsiteX5" fmla="*/ 790956 w 790955"/>
              <a:gd name="connsiteY5" fmla="*/ 364458 h 484219"/>
              <a:gd name="connsiteX6" fmla="*/ 790829 w 790955"/>
              <a:gd name="connsiteY6" fmla="*/ 295116 h 484219"/>
              <a:gd name="connsiteX7" fmla="*/ 790829 w 790955"/>
              <a:gd name="connsiteY7" fmla="*/ 261334 h 484219"/>
              <a:gd name="connsiteX8" fmla="*/ 779780 w 790955"/>
              <a:gd name="connsiteY8" fmla="*/ 242602 h 484219"/>
              <a:gd name="connsiteX9" fmla="*/ 405447 w 790955"/>
              <a:gd name="connsiteY9" fmla="*/ 2508 h 484219"/>
              <a:gd name="connsiteX10" fmla="*/ 388556 w 790955"/>
              <a:gd name="connsiteY10" fmla="*/ 2445 h 484219"/>
              <a:gd name="connsiteX11" fmla="*/ 11620 w 790955"/>
              <a:gd name="connsiteY11" fmla="*/ 242284 h 484219"/>
              <a:gd name="connsiteX12" fmla="*/ 0 w 790955"/>
              <a:gd name="connsiteY12" fmla="*/ 262477 h 484219"/>
              <a:gd name="connsiteX13" fmla="*/ 0 w 790955"/>
              <a:gd name="connsiteY13" fmla="*/ 304832 h 484219"/>
              <a:gd name="connsiteX14" fmla="*/ 127 w 790955"/>
              <a:gd name="connsiteY14" fmla="*/ 366681 h 48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90955" h="484219">
                <a:moveTo>
                  <a:pt x="191" y="366554"/>
                </a:moveTo>
                <a:cubicBezTo>
                  <a:pt x="191" y="401098"/>
                  <a:pt x="191" y="431769"/>
                  <a:pt x="191" y="459835"/>
                </a:cubicBezTo>
                <a:cubicBezTo>
                  <a:pt x="191" y="473298"/>
                  <a:pt x="11113" y="484220"/>
                  <a:pt x="24574" y="484220"/>
                </a:cubicBezTo>
                <a:lnTo>
                  <a:pt x="766572" y="484220"/>
                </a:lnTo>
                <a:cubicBezTo>
                  <a:pt x="780034" y="484220"/>
                  <a:pt x="790956" y="473298"/>
                  <a:pt x="790956" y="459835"/>
                </a:cubicBezTo>
                <a:lnTo>
                  <a:pt x="790956" y="364458"/>
                </a:lnTo>
                <a:lnTo>
                  <a:pt x="790829" y="295116"/>
                </a:lnTo>
                <a:lnTo>
                  <a:pt x="790829" y="261334"/>
                </a:lnTo>
                <a:cubicBezTo>
                  <a:pt x="790194" y="253714"/>
                  <a:pt x="786257" y="246729"/>
                  <a:pt x="779780" y="242602"/>
                </a:cubicBezTo>
                <a:lnTo>
                  <a:pt x="405447" y="2508"/>
                </a:lnTo>
                <a:cubicBezTo>
                  <a:pt x="400304" y="-793"/>
                  <a:pt x="393764" y="-857"/>
                  <a:pt x="388556" y="2445"/>
                </a:cubicBezTo>
                <a:cubicBezTo>
                  <a:pt x="287972" y="66072"/>
                  <a:pt x="64262" y="208757"/>
                  <a:pt x="11620" y="242284"/>
                </a:cubicBezTo>
                <a:cubicBezTo>
                  <a:pt x="4699" y="246666"/>
                  <a:pt x="127" y="254286"/>
                  <a:pt x="0" y="262477"/>
                </a:cubicBezTo>
                <a:lnTo>
                  <a:pt x="0" y="304832"/>
                </a:lnTo>
                <a:cubicBezTo>
                  <a:pt x="0" y="304832"/>
                  <a:pt x="127" y="366681"/>
                  <a:pt x="127" y="366681"/>
                </a:cubicBez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6D5BD8B1-90A8-5EB3-2D9F-17DED0957EFF}"/>
              </a:ext>
            </a:extLst>
          </p:cNvPr>
          <p:cNvSpPr/>
          <p:nvPr userDrawn="1"/>
        </p:nvSpPr>
        <p:spPr>
          <a:xfrm>
            <a:off x="8423275" y="5161335"/>
            <a:ext cx="790892" cy="956907"/>
          </a:xfrm>
          <a:custGeom>
            <a:avLst/>
            <a:gdLst>
              <a:gd name="connsiteX0" fmla="*/ 19304 w 790892"/>
              <a:gd name="connsiteY0" fmla="*/ 956128 h 956907"/>
              <a:gd name="connsiteX1" fmla="*/ 444 w 790892"/>
              <a:gd name="connsiteY1" fmla="*/ 942602 h 956907"/>
              <a:gd name="connsiteX2" fmla="*/ 127 w 790892"/>
              <a:gd name="connsiteY2" fmla="*/ 366593 h 956907"/>
              <a:gd name="connsiteX3" fmla="*/ 0 w 790892"/>
              <a:gd name="connsiteY3" fmla="*/ 304744 h 956907"/>
              <a:gd name="connsiteX4" fmla="*/ 0 w 790892"/>
              <a:gd name="connsiteY4" fmla="*/ 262390 h 956907"/>
              <a:gd name="connsiteX5" fmla="*/ 11620 w 790892"/>
              <a:gd name="connsiteY5" fmla="*/ 242261 h 956907"/>
              <a:gd name="connsiteX6" fmla="*/ 388556 w 790892"/>
              <a:gd name="connsiteY6" fmla="*/ 2421 h 956907"/>
              <a:gd name="connsiteX7" fmla="*/ 405447 w 790892"/>
              <a:gd name="connsiteY7" fmla="*/ 2485 h 956907"/>
              <a:gd name="connsiteX8" fmla="*/ 779780 w 790892"/>
              <a:gd name="connsiteY8" fmla="*/ 242578 h 956907"/>
              <a:gd name="connsiteX9" fmla="*/ 790766 w 790892"/>
              <a:gd name="connsiteY9" fmla="*/ 261311 h 956907"/>
              <a:gd name="connsiteX10" fmla="*/ 790766 w 790892"/>
              <a:gd name="connsiteY10" fmla="*/ 295093 h 956907"/>
              <a:gd name="connsiteX11" fmla="*/ 790893 w 790892"/>
              <a:gd name="connsiteY11" fmla="*/ 364435 h 956907"/>
              <a:gd name="connsiteX12" fmla="*/ 790893 w 790892"/>
              <a:gd name="connsiteY12" fmla="*/ 942602 h 956907"/>
              <a:gd name="connsiteX13" fmla="*/ 772096 w 790892"/>
              <a:gd name="connsiteY13" fmla="*/ 956064 h 956907"/>
              <a:gd name="connsiteX14" fmla="*/ 405320 w 790892"/>
              <a:gd name="connsiteY14" fmla="*/ 830715 h 956907"/>
              <a:gd name="connsiteX15" fmla="*/ 386334 w 790892"/>
              <a:gd name="connsiteY15" fmla="*/ 830715 h 956907"/>
              <a:gd name="connsiteX16" fmla="*/ 19368 w 790892"/>
              <a:gd name="connsiteY16" fmla="*/ 956000 h 956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90892" h="956907">
                <a:moveTo>
                  <a:pt x="19304" y="956128"/>
                </a:moveTo>
                <a:cubicBezTo>
                  <a:pt x="10096" y="959303"/>
                  <a:pt x="508" y="952381"/>
                  <a:pt x="444" y="942602"/>
                </a:cubicBezTo>
                <a:cubicBezTo>
                  <a:pt x="127" y="674378"/>
                  <a:pt x="127" y="625800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9"/>
                  <a:pt x="4699" y="246642"/>
                  <a:pt x="11620" y="242261"/>
                </a:cubicBezTo>
                <a:cubicBezTo>
                  <a:pt x="64262" y="208732"/>
                  <a:pt x="288036" y="66048"/>
                  <a:pt x="388556" y="2421"/>
                </a:cubicBezTo>
                <a:cubicBezTo>
                  <a:pt x="393700" y="-818"/>
                  <a:pt x="400304" y="-818"/>
                  <a:pt x="405447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3"/>
                </a:lnTo>
                <a:cubicBezTo>
                  <a:pt x="790766" y="295093"/>
                  <a:pt x="790893" y="364435"/>
                  <a:pt x="790893" y="364435"/>
                </a:cubicBezTo>
                <a:lnTo>
                  <a:pt x="790893" y="942602"/>
                </a:lnTo>
                <a:cubicBezTo>
                  <a:pt x="790893" y="952381"/>
                  <a:pt x="781304" y="959239"/>
                  <a:pt x="772096" y="956064"/>
                </a:cubicBezTo>
                <a:lnTo>
                  <a:pt x="405320" y="830715"/>
                </a:lnTo>
                <a:cubicBezTo>
                  <a:pt x="399161" y="828619"/>
                  <a:pt x="392494" y="828619"/>
                  <a:pt x="386334" y="830715"/>
                </a:cubicBezTo>
                <a:lnTo>
                  <a:pt x="19368" y="95600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95153459-6179-2416-1C77-D091B56370CD}"/>
              </a:ext>
            </a:extLst>
          </p:cNvPr>
          <p:cNvSpPr/>
          <p:nvPr userDrawn="1"/>
        </p:nvSpPr>
        <p:spPr>
          <a:xfrm>
            <a:off x="8423211" y="6118383"/>
            <a:ext cx="790956" cy="484219"/>
          </a:xfrm>
          <a:custGeom>
            <a:avLst/>
            <a:gdLst>
              <a:gd name="connsiteX0" fmla="*/ 191 w 790956"/>
              <a:gd name="connsiteY0" fmla="*/ 366554 h 484219"/>
              <a:gd name="connsiteX1" fmla="*/ 191 w 790956"/>
              <a:gd name="connsiteY1" fmla="*/ 459835 h 484219"/>
              <a:gd name="connsiteX2" fmla="*/ 24574 w 790956"/>
              <a:gd name="connsiteY2" fmla="*/ 484220 h 484219"/>
              <a:gd name="connsiteX3" fmla="*/ 766572 w 790956"/>
              <a:gd name="connsiteY3" fmla="*/ 484220 h 484219"/>
              <a:gd name="connsiteX4" fmla="*/ 790956 w 790956"/>
              <a:gd name="connsiteY4" fmla="*/ 459835 h 484219"/>
              <a:gd name="connsiteX5" fmla="*/ 790956 w 790956"/>
              <a:gd name="connsiteY5" fmla="*/ 364458 h 484219"/>
              <a:gd name="connsiteX6" fmla="*/ 790829 w 790956"/>
              <a:gd name="connsiteY6" fmla="*/ 295116 h 484219"/>
              <a:gd name="connsiteX7" fmla="*/ 790829 w 790956"/>
              <a:gd name="connsiteY7" fmla="*/ 261334 h 484219"/>
              <a:gd name="connsiteX8" fmla="*/ 779780 w 790956"/>
              <a:gd name="connsiteY8" fmla="*/ 242602 h 484219"/>
              <a:gd name="connsiteX9" fmla="*/ 405447 w 790956"/>
              <a:gd name="connsiteY9" fmla="*/ 2508 h 484219"/>
              <a:gd name="connsiteX10" fmla="*/ 388557 w 790956"/>
              <a:gd name="connsiteY10" fmla="*/ 2445 h 484219"/>
              <a:gd name="connsiteX11" fmla="*/ 11620 w 790956"/>
              <a:gd name="connsiteY11" fmla="*/ 242284 h 484219"/>
              <a:gd name="connsiteX12" fmla="*/ 0 w 790956"/>
              <a:gd name="connsiteY12" fmla="*/ 262477 h 484219"/>
              <a:gd name="connsiteX13" fmla="*/ 0 w 790956"/>
              <a:gd name="connsiteY13" fmla="*/ 304832 h 484219"/>
              <a:gd name="connsiteX14" fmla="*/ 127 w 790956"/>
              <a:gd name="connsiteY14" fmla="*/ 366681 h 48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90956" h="484219">
                <a:moveTo>
                  <a:pt x="191" y="366554"/>
                </a:moveTo>
                <a:cubicBezTo>
                  <a:pt x="191" y="401098"/>
                  <a:pt x="191" y="431769"/>
                  <a:pt x="191" y="459835"/>
                </a:cubicBezTo>
                <a:cubicBezTo>
                  <a:pt x="191" y="473298"/>
                  <a:pt x="11113" y="484220"/>
                  <a:pt x="24574" y="484220"/>
                </a:cubicBezTo>
                <a:lnTo>
                  <a:pt x="766572" y="484220"/>
                </a:lnTo>
                <a:cubicBezTo>
                  <a:pt x="780034" y="484220"/>
                  <a:pt x="790956" y="473298"/>
                  <a:pt x="790956" y="459835"/>
                </a:cubicBezTo>
                <a:lnTo>
                  <a:pt x="790956" y="364458"/>
                </a:lnTo>
                <a:lnTo>
                  <a:pt x="790829" y="295116"/>
                </a:lnTo>
                <a:lnTo>
                  <a:pt x="790829" y="261334"/>
                </a:lnTo>
                <a:cubicBezTo>
                  <a:pt x="790194" y="253714"/>
                  <a:pt x="786257" y="246729"/>
                  <a:pt x="779780" y="242602"/>
                </a:cubicBezTo>
                <a:lnTo>
                  <a:pt x="405447" y="2508"/>
                </a:lnTo>
                <a:cubicBezTo>
                  <a:pt x="400304" y="-793"/>
                  <a:pt x="393764" y="-857"/>
                  <a:pt x="388557" y="2445"/>
                </a:cubicBezTo>
                <a:cubicBezTo>
                  <a:pt x="287972" y="66072"/>
                  <a:pt x="64262" y="208757"/>
                  <a:pt x="11620" y="242284"/>
                </a:cubicBezTo>
                <a:cubicBezTo>
                  <a:pt x="4699" y="246666"/>
                  <a:pt x="127" y="254286"/>
                  <a:pt x="0" y="262477"/>
                </a:cubicBezTo>
                <a:lnTo>
                  <a:pt x="0" y="304832"/>
                </a:lnTo>
                <a:cubicBezTo>
                  <a:pt x="0" y="304832"/>
                  <a:pt x="127" y="366681"/>
                  <a:pt x="127" y="366681"/>
                </a:cubicBez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34F2AA30-1365-3B86-C182-214B8B3D495E}"/>
              </a:ext>
            </a:extLst>
          </p:cNvPr>
          <p:cNvSpPr/>
          <p:nvPr userDrawn="1"/>
        </p:nvSpPr>
        <p:spPr>
          <a:xfrm>
            <a:off x="10238422" y="5161335"/>
            <a:ext cx="790892" cy="956907"/>
          </a:xfrm>
          <a:custGeom>
            <a:avLst/>
            <a:gdLst>
              <a:gd name="connsiteX0" fmla="*/ 19304 w 790892"/>
              <a:gd name="connsiteY0" fmla="*/ 956128 h 956907"/>
              <a:gd name="connsiteX1" fmla="*/ 445 w 790892"/>
              <a:gd name="connsiteY1" fmla="*/ 942602 h 956907"/>
              <a:gd name="connsiteX2" fmla="*/ 127 w 790892"/>
              <a:gd name="connsiteY2" fmla="*/ 366593 h 956907"/>
              <a:gd name="connsiteX3" fmla="*/ 0 w 790892"/>
              <a:gd name="connsiteY3" fmla="*/ 304744 h 956907"/>
              <a:gd name="connsiteX4" fmla="*/ 0 w 790892"/>
              <a:gd name="connsiteY4" fmla="*/ 262390 h 956907"/>
              <a:gd name="connsiteX5" fmla="*/ 11621 w 790892"/>
              <a:gd name="connsiteY5" fmla="*/ 242261 h 956907"/>
              <a:gd name="connsiteX6" fmla="*/ 388557 w 790892"/>
              <a:gd name="connsiteY6" fmla="*/ 2421 h 956907"/>
              <a:gd name="connsiteX7" fmla="*/ 405447 w 790892"/>
              <a:gd name="connsiteY7" fmla="*/ 2485 h 956907"/>
              <a:gd name="connsiteX8" fmla="*/ 779780 w 790892"/>
              <a:gd name="connsiteY8" fmla="*/ 242578 h 956907"/>
              <a:gd name="connsiteX9" fmla="*/ 790766 w 790892"/>
              <a:gd name="connsiteY9" fmla="*/ 261311 h 956907"/>
              <a:gd name="connsiteX10" fmla="*/ 790766 w 790892"/>
              <a:gd name="connsiteY10" fmla="*/ 295093 h 956907"/>
              <a:gd name="connsiteX11" fmla="*/ 790893 w 790892"/>
              <a:gd name="connsiteY11" fmla="*/ 364435 h 956907"/>
              <a:gd name="connsiteX12" fmla="*/ 790893 w 790892"/>
              <a:gd name="connsiteY12" fmla="*/ 942602 h 956907"/>
              <a:gd name="connsiteX13" fmla="*/ 772096 w 790892"/>
              <a:gd name="connsiteY13" fmla="*/ 956064 h 956907"/>
              <a:gd name="connsiteX14" fmla="*/ 405321 w 790892"/>
              <a:gd name="connsiteY14" fmla="*/ 830715 h 956907"/>
              <a:gd name="connsiteX15" fmla="*/ 386334 w 790892"/>
              <a:gd name="connsiteY15" fmla="*/ 830715 h 956907"/>
              <a:gd name="connsiteX16" fmla="*/ 19368 w 790892"/>
              <a:gd name="connsiteY16" fmla="*/ 956000 h 956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90892" h="956907">
                <a:moveTo>
                  <a:pt x="19304" y="956128"/>
                </a:moveTo>
                <a:cubicBezTo>
                  <a:pt x="10096" y="959303"/>
                  <a:pt x="508" y="952381"/>
                  <a:pt x="445" y="942602"/>
                </a:cubicBezTo>
                <a:cubicBezTo>
                  <a:pt x="127" y="674378"/>
                  <a:pt x="127" y="625800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9"/>
                  <a:pt x="4699" y="246642"/>
                  <a:pt x="11621" y="242261"/>
                </a:cubicBezTo>
                <a:cubicBezTo>
                  <a:pt x="64262" y="208732"/>
                  <a:pt x="288036" y="66048"/>
                  <a:pt x="388557" y="2421"/>
                </a:cubicBezTo>
                <a:cubicBezTo>
                  <a:pt x="393700" y="-818"/>
                  <a:pt x="400304" y="-818"/>
                  <a:pt x="405447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3"/>
                </a:lnTo>
                <a:cubicBezTo>
                  <a:pt x="790766" y="295093"/>
                  <a:pt x="790893" y="364435"/>
                  <a:pt x="790893" y="364435"/>
                </a:cubicBezTo>
                <a:lnTo>
                  <a:pt x="790893" y="942602"/>
                </a:lnTo>
                <a:cubicBezTo>
                  <a:pt x="790893" y="952381"/>
                  <a:pt x="781304" y="959239"/>
                  <a:pt x="772096" y="956064"/>
                </a:cubicBezTo>
                <a:lnTo>
                  <a:pt x="405321" y="830715"/>
                </a:lnTo>
                <a:cubicBezTo>
                  <a:pt x="399161" y="828619"/>
                  <a:pt x="392494" y="828619"/>
                  <a:pt x="386334" y="830715"/>
                </a:cubicBezTo>
                <a:lnTo>
                  <a:pt x="19368" y="95600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" name="Freeform 24">
            <a:extLst>
              <a:ext uri="{FF2B5EF4-FFF2-40B4-BE49-F238E27FC236}">
                <a16:creationId xmlns:a16="http://schemas.microsoft.com/office/drawing/2014/main" id="{51726329-0A0D-15EB-81C5-7D92342627F8}"/>
              </a:ext>
            </a:extLst>
          </p:cNvPr>
          <p:cNvSpPr/>
          <p:nvPr userDrawn="1"/>
        </p:nvSpPr>
        <p:spPr>
          <a:xfrm>
            <a:off x="10238358" y="6118383"/>
            <a:ext cx="790956" cy="484219"/>
          </a:xfrm>
          <a:custGeom>
            <a:avLst/>
            <a:gdLst>
              <a:gd name="connsiteX0" fmla="*/ 191 w 790956"/>
              <a:gd name="connsiteY0" fmla="*/ 366554 h 484219"/>
              <a:gd name="connsiteX1" fmla="*/ 191 w 790956"/>
              <a:gd name="connsiteY1" fmla="*/ 459835 h 484219"/>
              <a:gd name="connsiteX2" fmla="*/ 24574 w 790956"/>
              <a:gd name="connsiteY2" fmla="*/ 484220 h 484219"/>
              <a:gd name="connsiteX3" fmla="*/ 766573 w 790956"/>
              <a:gd name="connsiteY3" fmla="*/ 484220 h 484219"/>
              <a:gd name="connsiteX4" fmla="*/ 790956 w 790956"/>
              <a:gd name="connsiteY4" fmla="*/ 459835 h 484219"/>
              <a:gd name="connsiteX5" fmla="*/ 790956 w 790956"/>
              <a:gd name="connsiteY5" fmla="*/ 364458 h 484219"/>
              <a:gd name="connsiteX6" fmla="*/ 790829 w 790956"/>
              <a:gd name="connsiteY6" fmla="*/ 295116 h 484219"/>
              <a:gd name="connsiteX7" fmla="*/ 790829 w 790956"/>
              <a:gd name="connsiteY7" fmla="*/ 261334 h 484219"/>
              <a:gd name="connsiteX8" fmla="*/ 779780 w 790956"/>
              <a:gd name="connsiteY8" fmla="*/ 242602 h 484219"/>
              <a:gd name="connsiteX9" fmla="*/ 405447 w 790956"/>
              <a:gd name="connsiteY9" fmla="*/ 2508 h 484219"/>
              <a:gd name="connsiteX10" fmla="*/ 388557 w 790956"/>
              <a:gd name="connsiteY10" fmla="*/ 2445 h 484219"/>
              <a:gd name="connsiteX11" fmla="*/ 11621 w 790956"/>
              <a:gd name="connsiteY11" fmla="*/ 242284 h 484219"/>
              <a:gd name="connsiteX12" fmla="*/ 0 w 790956"/>
              <a:gd name="connsiteY12" fmla="*/ 262477 h 484219"/>
              <a:gd name="connsiteX13" fmla="*/ 0 w 790956"/>
              <a:gd name="connsiteY13" fmla="*/ 304832 h 484219"/>
              <a:gd name="connsiteX14" fmla="*/ 127 w 790956"/>
              <a:gd name="connsiteY14" fmla="*/ 366681 h 48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90956" h="484219">
                <a:moveTo>
                  <a:pt x="191" y="366554"/>
                </a:moveTo>
                <a:cubicBezTo>
                  <a:pt x="191" y="401098"/>
                  <a:pt x="191" y="431769"/>
                  <a:pt x="191" y="459835"/>
                </a:cubicBezTo>
                <a:cubicBezTo>
                  <a:pt x="191" y="473298"/>
                  <a:pt x="11113" y="484220"/>
                  <a:pt x="24574" y="484220"/>
                </a:cubicBezTo>
                <a:lnTo>
                  <a:pt x="766573" y="484220"/>
                </a:lnTo>
                <a:cubicBezTo>
                  <a:pt x="780035" y="484220"/>
                  <a:pt x="790956" y="473298"/>
                  <a:pt x="790956" y="459835"/>
                </a:cubicBezTo>
                <a:lnTo>
                  <a:pt x="790956" y="364458"/>
                </a:lnTo>
                <a:lnTo>
                  <a:pt x="790829" y="295116"/>
                </a:lnTo>
                <a:lnTo>
                  <a:pt x="790829" y="261334"/>
                </a:lnTo>
                <a:cubicBezTo>
                  <a:pt x="790194" y="253714"/>
                  <a:pt x="786257" y="246729"/>
                  <a:pt x="779780" y="242602"/>
                </a:cubicBezTo>
                <a:lnTo>
                  <a:pt x="405447" y="2508"/>
                </a:lnTo>
                <a:cubicBezTo>
                  <a:pt x="400304" y="-793"/>
                  <a:pt x="393764" y="-857"/>
                  <a:pt x="388557" y="2445"/>
                </a:cubicBezTo>
                <a:cubicBezTo>
                  <a:pt x="287972" y="66072"/>
                  <a:pt x="64262" y="208757"/>
                  <a:pt x="11621" y="242284"/>
                </a:cubicBezTo>
                <a:cubicBezTo>
                  <a:pt x="4699" y="246666"/>
                  <a:pt x="127" y="254286"/>
                  <a:pt x="0" y="262477"/>
                </a:cubicBezTo>
                <a:lnTo>
                  <a:pt x="0" y="304832"/>
                </a:lnTo>
                <a:cubicBezTo>
                  <a:pt x="0" y="304832"/>
                  <a:pt x="127" y="366681"/>
                  <a:pt x="127" y="366681"/>
                </a:cubicBez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663C4D1D-01BD-BC43-52D7-2FDE9C2A425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52354" y="1053550"/>
            <a:ext cx="9866569" cy="541204"/>
          </a:xfrm>
        </p:spPr>
        <p:txBody>
          <a:bodyPr anchor="t">
            <a:noAutofit/>
          </a:bodyPr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DE0772A8-9508-A64B-68C5-CD64D30DF7DA}"/>
              </a:ext>
            </a:extLst>
          </p:cNvPr>
          <p:cNvSpPr>
            <a:spLocks noGrp="1"/>
          </p:cNvSpPr>
          <p:nvPr>
            <p:ph type="body" sz="half" idx="11"/>
          </p:nvPr>
        </p:nvSpPr>
        <p:spPr>
          <a:xfrm>
            <a:off x="1152354" y="1564570"/>
            <a:ext cx="9866569" cy="345112"/>
          </a:xfrm>
        </p:spPr>
        <p:txBody>
          <a:bodyPr numCol="1">
            <a:noAutofit/>
          </a:bodyPr>
          <a:lstStyle>
            <a:lvl1pPr marL="0" indent="0">
              <a:buNone/>
              <a:defRPr sz="2400" b="0" i="0">
                <a:latin typeface="Helvetica" pitchFamily="2" charset="0"/>
                <a:ea typeface="Bagoss Standard" panose="020B0504060102020204" pitchFamily="34" charset="77"/>
                <a:cs typeface="Bagoss Standard" panose="020B0504060102020204" pitchFamily="34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Content Placeholder 19">
            <a:extLst>
              <a:ext uri="{FF2B5EF4-FFF2-40B4-BE49-F238E27FC236}">
                <a16:creationId xmlns:a16="http://schemas.microsoft.com/office/drawing/2014/main" id="{F7AF398D-3197-8F88-3647-3B11F50C993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152354" y="2017643"/>
            <a:ext cx="9866569" cy="282876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/>
            </a:lvl1pPr>
            <a:lvl2pPr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860169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ext &amp; Content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BDAEDD57-623E-3D37-F372-3CC8886E89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52353" y="1054527"/>
            <a:ext cx="9866569" cy="541204"/>
          </a:xfrm>
        </p:spPr>
        <p:txBody>
          <a:bodyPr anchor="t">
            <a:noAutofit/>
          </a:bodyPr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AE1351B-7F17-0D5A-0966-C212A82B2429}"/>
              </a:ext>
            </a:extLst>
          </p:cNvPr>
          <p:cNvSpPr>
            <a:spLocks noGrp="1"/>
          </p:cNvSpPr>
          <p:nvPr>
            <p:ph type="body" sz="half" idx="11"/>
          </p:nvPr>
        </p:nvSpPr>
        <p:spPr>
          <a:xfrm>
            <a:off x="1152355" y="1683838"/>
            <a:ext cx="3091654" cy="345112"/>
          </a:xfrm>
        </p:spPr>
        <p:txBody>
          <a:bodyPr numCol="1">
            <a:noAutofit/>
          </a:bodyPr>
          <a:lstStyle>
            <a:lvl1pPr marL="0" indent="0">
              <a:buNone/>
              <a:defRPr sz="2400" b="0" i="0">
                <a:latin typeface="Helvetica" pitchFamily="2" charset="0"/>
                <a:ea typeface="Bagoss Standard" panose="020B0504060102020204" pitchFamily="34" charset="77"/>
                <a:cs typeface="Bagoss Standard" panose="020B0504060102020204" pitchFamily="34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19">
            <a:extLst>
              <a:ext uri="{FF2B5EF4-FFF2-40B4-BE49-F238E27FC236}">
                <a16:creationId xmlns:a16="http://schemas.microsoft.com/office/drawing/2014/main" id="{DF55638F-C8B8-EEAA-859E-CBF62C55AE1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152355" y="2118033"/>
            <a:ext cx="3091654" cy="404190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/>
            </a:lvl1pPr>
            <a:lvl2pPr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2655BE-F458-1F78-8C79-E0F50B611668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4550173" y="1683838"/>
            <a:ext cx="3091654" cy="345112"/>
          </a:xfrm>
        </p:spPr>
        <p:txBody>
          <a:bodyPr numCol="1">
            <a:noAutofit/>
          </a:bodyPr>
          <a:lstStyle>
            <a:lvl1pPr marL="0" indent="0">
              <a:buNone/>
              <a:defRPr sz="2400" b="0" i="0">
                <a:latin typeface="Helvetica" pitchFamily="2" charset="0"/>
                <a:ea typeface="Bagoss Standard" panose="020B0504060102020204" pitchFamily="34" charset="77"/>
                <a:cs typeface="Bagoss Standard" panose="020B0504060102020204" pitchFamily="34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Content Placeholder 19">
            <a:extLst>
              <a:ext uri="{FF2B5EF4-FFF2-40B4-BE49-F238E27FC236}">
                <a16:creationId xmlns:a16="http://schemas.microsoft.com/office/drawing/2014/main" id="{EDE57099-42D9-AF2D-5217-DDD79C4329B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550173" y="2118033"/>
            <a:ext cx="3091654" cy="404190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/>
            </a:lvl1pPr>
            <a:lvl2pPr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19">
            <a:extLst>
              <a:ext uri="{FF2B5EF4-FFF2-40B4-BE49-F238E27FC236}">
                <a16:creationId xmlns:a16="http://schemas.microsoft.com/office/drawing/2014/main" id="{9EA63816-7AE1-AE80-D02F-C2934653FCC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949356" y="2118033"/>
            <a:ext cx="3091654" cy="404190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/>
            </a:lvl1pPr>
            <a:lvl2pPr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DC5B2C29-42B8-66D6-3F1B-9E5444CE5E25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7949355" y="1683838"/>
            <a:ext cx="3091654" cy="345112"/>
          </a:xfrm>
        </p:spPr>
        <p:txBody>
          <a:bodyPr numCol="1">
            <a:noAutofit/>
          </a:bodyPr>
          <a:lstStyle>
            <a:lvl1pPr marL="0" indent="0">
              <a:buNone/>
              <a:defRPr sz="2400" b="0" i="0">
                <a:latin typeface="Helvetica" pitchFamily="2" charset="0"/>
                <a:ea typeface="Bagoss Standard" panose="020B0504060102020204" pitchFamily="34" charset="77"/>
                <a:cs typeface="Bagoss Standard" panose="020B0504060102020204" pitchFamily="34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3641344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ver">
    <p:bg>
      <p:bgPr>
        <a:solidFill>
          <a:srgbClr val="005F8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3">
            <a:extLst>
              <a:ext uri="{FF2B5EF4-FFF2-40B4-BE49-F238E27FC236}">
                <a16:creationId xmlns:a16="http://schemas.microsoft.com/office/drawing/2014/main" id="{035A5A31-063B-9BDD-A94C-59191B867061}"/>
              </a:ext>
            </a:extLst>
          </p:cNvPr>
          <p:cNvSpPr/>
          <p:nvPr userDrawn="1"/>
        </p:nvSpPr>
        <p:spPr>
          <a:xfrm>
            <a:off x="476397" y="998835"/>
            <a:ext cx="11092688" cy="1536700"/>
          </a:xfrm>
          <a:prstGeom prst="rect">
            <a:avLst/>
          </a:prstGeom>
          <a:noFill/>
          <a:ln/>
        </p:spPr>
        <p:txBody>
          <a:bodyPr wrap="square" lIns="16933" tIns="16933" rIns="16933" bIns="16933" rtlCol="0" anchor="t">
            <a:normAutofit fontScale="92500" lnSpcReduction="20000"/>
          </a:bodyPr>
          <a:lstStyle/>
          <a:p>
            <a:pPr defTabSz="609630">
              <a:lnSpc>
                <a:spcPct val="85000"/>
              </a:lnSpc>
            </a:pPr>
            <a:endParaRPr lang="en-US" sz="1400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" name="Text 4">
            <a:extLst>
              <a:ext uri="{FF2B5EF4-FFF2-40B4-BE49-F238E27FC236}">
                <a16:creationId xmlns:a16="http://schemas.microsoft.com/office/drawing/2014/main" id="{40C84E48-FC28-F127-B9F4-8983001BFC36}"/>
              </a:ext>
            </a:extLst>
          </p:cNvPr>
          <p:cNvSpPr/>
          <p:nvPr userDrawn="1"/>
        </p:nvSpPr>
        <p:spPr>
          <a:xfrm>
            <a:off x="711200" y="4169370"/>
            <a:ext cx="11092688" cy="1618456"/>
          </a:xfrm>
          <a:prstGeom prst="rect">
            <a:avLst/>
          </a:prstGeom>
          <a:noFill/>
          <a:ln/>
        </p:spPr>
        <p:txBody>
          <a:bodyPr wrap="square" lIns="16933" tIns="16933" rIns="16933" bIns="16933" rtlCol="0" anchor="t">
            <a:normAutofit/>
          </a:bodyPr>
          <a:lstStyle/>
          <a:p>
            <a:pPr defTabSz="609630">
              <a:lnSpc>
                <a:spcPct val="98000"/>
              </a:lnSpc>
            </a:pPr>
            <a:endParaRPr lang="en-US" sz="640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" name="Text 5">
            <a:extLst>
              <a:ext uri="{FF2B5EF4-FFF2-40B4-BE49-F238E27FC236}">
                <a16:creationId xmlns:a16="http://schemas.microsoft.com/office/drawing/2014/main" id="{1F62CCD6-E4BE-7C4D-FA61-805C1FF0321B}"/>
              </a:ext>
            </a:extLst>
          </p:cNvPr>
          <p:cNvSpPr/>
          <p:nvPr userDrawn="1"/>
        </p:nvSpPr>
        <p:spPr>
          <a:xfrm>
            <a:off x="711200" y="5416153"/>
            <a:ext cx="5886450" cy="743347"/>
          </a:xfrm>
          <a:prstGeom prst="rect">
            <a:avLst/>
          </a:prstGeom>
          <a:noFill/>
          <a:ln/>
        </p:spPr>
        <p:txBody>
          <a:bodyPr wrap="square" lIns="16933" tIns="16933" rIns="16933" bIns="16933" rtlCol="0" anchor="t">
            <a:normAutofit/>
          </a:bodyPr>
          <a:lstStyle/>
          <a:p>
            <a:pPr defTabSz="609630">
              <a:lnSpc>
                <a:spcPct val="145000"/>
              </a:lnSpc>
            </a:pPr>
            <a:endParaRPr lang="en-US" sz="130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6573498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1176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&amp; Image-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26926471-0C29-A746-6CA0-5327A71104F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5165" y="255460"/>
            <a:ext cx="5225882" cy="6360069"/>
          </a:xfrm>
          <a:custGeom>
            <a:avLst/>
            <a:gdLst>
              <a:gd name="connsiteX0" fmla="*/ 606623 w 5225882"/>
              <a:gd name="connsiteY0" fmla="*/ 366808 h 6360069"/>
              <a:gd name="connsiteX1" fmla="*/ 634460 w 5225882"/>
              <a:gd name="connsiteY1" fmla="*/ 382423 h 6360069"/>
              <a:gd name="connsiteX2" fmla="*/ 648112 w 5225882"/>
              <a:gd name="connsiteY2" fmla="*/ 412495 h 6360069"/>
              <a:gd name="connsiteX3" fmla="*/ 646421 w 5225882"/>
              <a:gd name="connsiteY3" fmla="*/ 444333 h 6360069"/>
              <a:gd name="connsiteX4" fmla="*/ 646418 w 5225882"/>
              <a:gd name="connsiteY4" fmla="*/ 444333 h 6360069"/>
              <a:gd name="connsiteX5" fmla="*/ 622196 w 5225882"/>
              <a:gd name="connsiteY5" fmla="*/ 482654 h 6360069"/>
              <a:gd name="connsiteX6" fmla="*/ 593084 w 5225882"/>
              <a:gd name="connsiteY6" fmla="*/ 492419 h 6360069"/>
              <a:gd name="connsiteX7" fmla="*/ 545654 w 5225882"/>
              <a:gd name="connsiteY7" fmla="*/ 492383 h 6360069"/>
              <a:gd name="connsiteX8" fmla="*/ 543663 w 5225882"/>
              <a:gd name="connsiteY8" fmla="*/ 490392 h 6360069"/>
              <a:gd name="connsiteX9" fmla="*/ 543627 w 5225882"/>
              <a:gd name="connsiteY9" fmla="*/ 386052 h 6360069"/>
              <a:gd name="connsiteX10" fmla="*/ 545476 w 5225882"/>
              <a:gd name="connsiteY10" fmla="*/ 383313 h 6360069"/>
              <a:gd name="connsiteX11" fmla="*/ 602599 w 5225882"/>
              <a:gd name="connsiteY11" fmla="*/ 366926 h 6360069"/>
              <a:gd name="connsiteX12" fmla="*/ 606623 w 5225882"/>
              <a:gd name="connsiteY12" fmla="*/ 366808 h 6360069"/>
              <a:gd name="connsiteX13" fmla="*/ 409130 w 5225882"/>
              <a:gd name="connsiteY13" fmla="*/ 364754 h 6360069"/>
              <a:gd name="connsiteX14" fmla="*/ 409130 w 5225882"/>
              <a:gd name="connsiteY14" fmla="*/ 366537 h 6360069"/>
              <a:gd name="connsiteX15" fmla="*/ 409130 w 5225882"/>
              <a:gd name="connsiteY15" fmla="*/ 364754 h 6360069"/>
              <a:gd name="connsiteX16" fmla="*/ 545782 w 5225882"/>
              <a:gd name="connsiteY16" fmla="*/ 254966 h 6360069"/>
              <a:gd name="connsiteX17" fmla="*/ 553794 w 5225882"/>
              <a:gd name="connsiteY17" fmla="*/ 254966 h 6360069"/>
              <a:gd name="connsiteX18" fmla="*/ 586809 w 5225882"/>
              <a:gd name="connsiteY18" fmla="*/ 255316 h 6360069"/>
              <a:gd name="connsiteX19" fmla="*/ 614692 w 5225882"/>
              <a:gd name="connsiteY19" fmla="*/ 261067 h 6360069"/>
              <a:gd name="connsiteX20" fmla="*/ 635442 w 5225882"/>
              <a:gd name="connsiteY20" fmla="*/ 286873 h 6360069"/>
              <a:gd name="connsiteX21" fmla="*/ 629012 w 5225882"/>
              <a:gd name="connsiteY21" fmla="*/ 319120 h 6360069"/>
              <a:gd name="connsiteX22" fmla="*/ 561708 w 5225882"/>
              <a:gd name="connsiteY22" fmla="*/ 360572 h 6360069"/>
              <a:gd name="connsiteX23" fmla="*/ 546372 w 5225882"/>
              <a:gd name="connsiteY23" fmla="*/ 366458 h 6360069"/>
              <a:gd name="connsiteX24" fmla="*/ 543653 w 5225882"/>
              <a:gd name="connsiteY24" fmla="*/ 364596 h 6360069"/>
              <a:gd name="connsiteX25" fmla="*/ 543775 w 5225882"/>
              <a:gd name="connsiteY25" fmla="*/ 282958 h 6360069"/>
              <a:gd name="connsiteX26" fmla="*/ 543778 w 5225882"/>
              <a:gd name="connsiteY26" fmla="*/ 282961 h 6360069"/>
              <a:gd name="connsiteX27" fmla="*/ 543778 w 5225882"/>
              <a:gd name="connsiteY27" fmla="*/ 256970 h 6360069"/>
              <a:gd name="connsiteX28" fmla="*/ 545782 w 5225882"/>
              <a:gd name="connsiteY28" fmla="*/ 254966 h 6360069"/>
              <a:gd name="connsiteX29" fmla="*/ 482011 w 5225882"/>
              <a:gd name="connsiteY29" fmla="*/ 239377 h 6360069"/>
              <a:gd name="connsiteX30" fmla="*/ 480300 w 5225882"/>
              <a:gd name="connsiteY30" fmla="*/ 242426 h 6360069"/>
              <a:gd name="connsiteX31" fmla="*/ 491546 w 5225882"/>
              <a:gd name="connsiteY31" fmla="*/ 260873 h 6360069"/>
              <a:gd name="connsiteX32" fmla="*/ 492805 w 5225882"/>
              <a:gd name="connsiteY32" fmla="*/ 265282 h 6360069"/>
              <a:gd name="connsiteX33" fmla="*/ 492805 w 5225882"/>
              <a:gd name="connsiteY33" fmla="*/ 265207 h 6360069"/>
              <a:gd name="connsiteX34" fmla="*/ 492805 w 5225882"/>
              <a:gd name="connsiteY34" fmla="*/ 508065 h 6360069"/>
              <a:gd name="connsiteX35" fmla="*/ 495820 w 5225882"/>
              <a:gd name="connsiteY35" fmla="*/ 511054 h 6360069"/>
              <a:gd name="connsiteX36" fmla="*/ 605519 w 5225882"/>
              <a:gd name="connsiteY36" fmla="*/ 511054 h 6360069"/>
              <a:gd name="connsiteX37" fmla="*/ 639681 w 5225882"/>
              <a:gd name="connsiteY37" fmla="*/ 506084 h 6360069"/>
              <a:gd name="connsiteX38" fmla="*/ 680684 w 5225882"/>
              <a:gd name="connsiteY38" fmla="*/ 482235 h 6360069"/>
              <a:gd name="connsiteX39" fmla="*/ 702493 w 5225882"/>
              <a:gd name="connsiteY39" fmla="*/ 434462 h 6360069"/>
              <a:gd name="connsiteX40" fmla="*/ 693769 w 5225882"/>
              <a:gd name="connsiteY40" fmla="*/ 388517 h 6360069"/>
              <a:gd name="connsiteX41" fmla="*/ 693772 w 5225882"/>
              <a:gd name="connsiteY41" fmla="*/ 388514 h 6360069"/>
              <a:gd name="connsiteX42" fmla="*/ 648023 w 5225882"/>
              <a:gd name="connsiteY42" fmla="*/ 353779 h 6360069"/>
              <a:gd name="connsiteX43" fmla="*/ 634697 w 5225882"/>
              <a:gd name="connsiteY43" fmla="*/ 351868 h 6360069"/>
              <a:gd name="connsiteX44" fmla="*/ 634450 w 5225882"/>
              <a:gd name="connsiteY44" fmla="*/ 350506 h 6360069"/>
              <a:gd name="connsiteX45" fmla="*/ 665995 w 5225882"/>
              <a:gd name="connsiteY45" fmla="*/ 330174 h 6360069"/>
              <a:gd name="connsiteX46" fmla="*/ 685645 w 5225882"/>
              <a:gd name="connsiteY46" fmla="*/ 287918 h 6360069"/>
              <a:gd name="connsiteX47" fmla="*/ 669597 w 5225882"/>
              <a:gd name="connsiteY47" fmla="*/ 254146 h 6360069"/>
              <a:gd name="connsiteX48" fmla="*/ 643923 w 5225882"/>
              <a:gd name="connsiteY48" fmla="*/ 242805 h 6360069"/>
              <a:gd name="connsiteX49" fmla="*/ 610295 w 5225882"/>
              <a:gd name="connsiteY49" fmla="*/ 239397 h 6360069"/>
              <a:gd name="connsiteX50" fmla="*/ 492805 w 5225882"/>
              <a:gd name="connsiteY50" fmla="*/ 239377 h 6360069"/>
              <a:gd name="connsiteX51" fmla="*/ 398465 w 5225882"/>
              <a:gd name="connsiteY51" fmla="*/ 239367 h 6360069"/>
              <a:gd name="connsiteX52" fmla="*/ 396745 w 5225882"/>
              <a:gd name="connsiteY52" fmla="*/ 242402 h 6360069"/>
              <a:gd name="connsiteX53" fmla="*/ 408231 w 5225882"/>
              <a:gd name="connsiteY53" fmla="*/ 261574 h 6360069"/>
              <a:gd name="connsiteX54" fmla="*/ 409091 w 5225882"/>
              <a:gd name="connsiteY54" fmla="*/ 264709 h 6360069"/>
              <a:gd name="connsiteX55" fmla="*/ 409128 w 5225882"/>
              <a:gd name="connsiteY55" fmla="*/ 315623 h 6360069"/>
              <a:gd name="connsiteX56" fmla="*/ 409130 w 5225882"/>
              <a:gd name="connsiteY56" fmla="*/ 364754 h 6360069"/>
              <a:gd name="connsiteX57" fmla="*/ 406415 w 5225882"/>
              <a:gd name="connsiteY57" fmla="*/ 366448 h 6360069"/>
              <a:gd name="connsiteX58" fmla="*/ 361743 w 5225882"/>
              <a:gd name="connsiteY58" fmla="*/ 350786 h 6360069"/>
              <a:gd name="connsiteX59" fmla="*/ 359554 w 5225882"/>
              <a:gd name="connsiteY59" fmla="*/ 350783 h 6360069"/>
              <a:gd name="connsiteX60" fmla="*/ 314329 w 5225882"/>
              <a:gd name="connsiteY60" fmla="*/ 366495 h 6360069"/>
              <a:gd name="connsiteX61" fmla="*/ 311550 w 5225882"/>
              <a:gd name="connsiteY61" fmla="*/ 366495 h 6360069"/>
              <a:gd name="connsiteX62" fmla="*/ 311547 w 5225882"/>
              <a:gd name="connsiteY62" fmla="*/ 364725 h 6360069"/>
              <a:gd name="connsiteX63" fmla="*/ 311547 w 5225882"/>
              <a:gd name="connsiteY63" fmla="*/ 242386 h 6360069"/>
              <a:gd name="connsiteX64" fmla="*/ 308538 w 5225882"/>
              <a:gd name="connsiteY64" fmla="*/ 239377 h 6360069"/>
              <a:gd name="connsiteX65" fmla="*/ 250047 w 5225882"/>
              <a:gd name="connsiteY65" fmla="*/ 239377 h 6360069"/>
              <a:gd name="connsiteX66" fmla="*/ 248336 w 5225882"/>
              <a:gd name="connsiteY66" fmla="*/ 242426 h 6360069"/>
              <a:gd name="connsiteX67" fmla="*/ 259585 w 5225882"/>
              <a:gd name="connsiteY67" fmla="*/ 260952 h 6360069"/>
              <a:gd name="connsiteX68" fmla="*/ 260844 w 5225882"/>
              <a:gd name="connsiteY68" fmla="*/ 265361 h 6360069"/>
              <a:gd name="connsiteX69" fmla="*/ 260847 w 5225882"/>
              <a:gd name="connsiteY69" fmla="*/ 485145 h 6360069"/>
              <a:gd name="connsiteX70" fmla="*/ 259651 w 5225882"/>
              <a:gd name="connsiteY70" fmla="*/ 489337 h 6360069"/>
              <a:gd name="connsiteX71" fmla="*/ 248313 w 5225882"/>
              <a:gd name="connsiteY71" fmla="*/ 508005 h 6360069"/>
              <a:gd name="connsiteX72" fmla="*/ 250027 w 5225882"/>
              <a:gd name="connsiteY72" fmla="*/ 511054 h 6360069"/>
              <a:gd name="connsiteX73" fmla="*/ 322334 w 5225882"/>
              <a:gd name="connsiteY73" fmla="*/ 511054 h 6360069"/>
              <a:gd name="connsiteX74" fmla="*/ 324055 w 5225882"/>
              <a:gd name="connsiteY74" fmla="*/ 508015 h 6360069"/>
              <a:gd name="connsiteX75" fmla="*/ 312635 w 5225882"/>
              <a:gd name="connsiteY75" fmla="*/ 488981 h 6360069"/>
              <a:gd name="connsiteX76" fmla="*/ 311659 w 5225882"/>
              <a:gd name="connsiteY76" fmla="*/ 485405 h 6360069"/>
              <a:gd name="connsiteX77" fmla="*/ 311620 w 5225882"/>
              <a:gd name="connsiteY77" fmla="*/ 411868 h 6360069"/>
              <a:gd name="connsiteX78" fmla="*/ 311606 w 5225882"/>
              <a:gd name="connsiteY78" fmla="*/ 404239 h 6360069"/>
              <a:gd name="connsiteX79" fmla="*/ 311600 w 5225882"/>
              <a:gd name="connsiteY79" fmla="*/ 399015 h 6360069"/>
              <a:gd name="connsiteX80" fmla="*/ 313037 w 5225882"/>
              <a:gd name="connsiteY80" fmla="*/ 396526 h 6360069"/>
              <a:gd name="connsiteX81" fmla="*/ 359548 w 5225882"/>
              <a:gd name="connsiteY81" fmla="*/ 366933 h 6360069"/>
              <a:gd name="connsiteX82" fmla="*/ 361634 w 5225882"/>
              <a:gd name="connsiteY82" fmla="*/ 366939 h 6360069"/>
              <a:gd name="connsiteX83" fmla="*/ 407822 w 5225882"/>
              <a:gd name="connsiteY83" fmla="*/ 396563 h 6360069"/>
              <a:gd name="connsiteX84" fmla="*/ 409180 w 5225882"/>
              <a:gd name="connsiteY84" fmla="*/ 398876 h 6360069"/>
              <a:gd name="connsiteX85" fmla="*/ 409186 w 5225882"/>
              <a:gd name="connsiteY85" fmla="*/ 403049 h 6360069"/>
              <a:gd name="connsiteX86" fmla="*/ 409200 w 5225882"/>
              <a:gd name="connsiteY86" fmla="*/ 411605 h 6360069"/>
              <a:gd name="connsiteX87" fmla="*/ 409200 w 5225882"/>
              <a:gd name="connsiteY87" fmla="*/ 508035 h 6360069"/>
              <a:gd name="connsiteX88" fmla="*/ 412209 w 5225882"/>
              <a:gd name="connsiteY88" fmla="*/ 511044 h 6360069"/>
              <a:gd name="connsiteX89" fmla="*/ 471053 w 5225882"/>
              <a:gd name="connsiteY89" fmla="*/ 511044 h 6360069"/>
              <a:gd name="connsiteX90" fmla="*/ 472773 w 5225882"/>
              <a:gd name="connsiteY90" fmla="*/ 508008 h 6360069"/>
              <a:gd name="connsiteX91" fmla="*/ 461531 w 5225882"/>
              <a:gd name="connsiteY91" fmla="*/ 489242 h 6360069"/>
              <a:gd name="connsiteX92" fmla="*/ 460499 w 5225882"/>
              <a:gd name="connsiteY92" fmla="*/ 485445 h 6360069"/>
              <a:gd name="connsiteX93" fmla="*/ 460453 w 5225882"/>
              <a:gd name="connsiteY93" fmla="*/ 242376 h 6360069"/>
              <a:gd name="connsiteX94" fmla="*/ 457444 w 5225882"/>
              <a:gd name="connsiteY94" fmla="*/ 239367 h 6360069"/>
              <a:gd name="connsiteX95" fmla="*/ 712019 w 5225882"/>
              <a:gd name="connsiteY95" fmla="*/ 239367 h 6360069"/>
              <a:gd name="connsiteX96" fmla="*/ 710308 w 5225882"/>
              <a:gd name="connsiteY96" fmla="*/ 242416 h 6360069"/>
              <a:gd name="connsiteX97" fmla="*/ 721554 w 5225882"/>
              <a:gd name="connsiteY97" fmla="*/ 260945 h 6360069"/>
              <a:gd name="connsiteX98" fmla="*/ 722813 w 5225882"/>
              <a:gd name="connsiteY98" fmla="*/ 265355 h 6360069"/>
              <a:gd name="connsiteX99" fmla="*/ 722813 w 5225882"/>
              <a:gd name="connsiteY99" fmla="*/ 322627 h 6360069"/>
              <a:gd name="connsiteX100" fmla="*/ 722796 w 5225882"/>
              <a:gd name="connsiteY100" fmla="*/ 322627 h 6360069"/>
              <a:gd name="connsiteX101" fmla="*/ 722796 w 5225882"/>
              <a:gd name="connsiteY101" fmla="*/ 485148 h 6360069"/>
              <a:gd name="connsiteX102" fmla="*/ 721537 w 5225882"/>
              <a:gd name="connsiteY102" fmla="*/ 489558 h 6360069"/>
              <a:gd name="connsiteX103" fmla="*/ 710292 w 5225882"/>
              <a:gd name="connsiteY103" fmla="*/ 508005 h 6360069"/>
              <a:gd name="connsiteX104" fmla="*/ 712002 w 5225882"/>
              <a:gd name="connsiteY104" fmla="*/ 511054 h 6360069"/>
              <a:gd name="connsiteX105" fmla="*/ 784399 w 5225882"/>
              <a:gd name="connsiteY105" fmla="*/ 511054 h 6360069"/>
              <a:gd name="connsiteX106" fmla="*/ 786109 w 5225882"/>
              <a:gd name="connsiteY106" fmla="*/ 508005 h 6360069"/>
              <a:gd name="connsiteX107" fmla="*/ 774864 w 5225882"/>
              <a:gd name="connsiteY107" fmla="*/ 489558 h 6360069"/>
              <a:gd name="connsiteX108" fmla="*/ 773615 w 5225882"/>
              <a:gd name="connsiteY108" fmla="*/ 485284 h 6360069"/>
              <a:gd name="connsiteX109" fmla="*/ 773595 w 5225882"/>
              <a:gd name="connsiteY109" fmla="*/ 369560 h 6360069"/>
              <a:gd name="connsiteX110" fmla="*/ 776614 w 5225882"/>
              <a:gd name="connsiteY110" fmla="*/ 366590 h 6360069"/>
              <a:gd name="connsiteX111" fmla="*/ 816899 w 5225882"/>
              <a:gd name="connsiteY111" fmla="*/ 375166 h 6360069"/>
              <a:gd name="connsiteX112" fmla="*/ 844710 w 5225882"/>
              <a:gd name="connsiteY112" fmla="*/ 396652 h 6360069"/>
              <a:gd name="connsiteX113" fmla="*/ 845296 w 5225882"/>
              <a:gd name="connsiteY113" fmla="*/ 397324 h 6360069"/>
              <a:gd name="connsiteX114" fmla="*/ 848796 w 5225882"/>
              <a:gd name="connsiteY114" fmla="*/ 395999 h 6360069"/>
              <a:gd name="connsiteX115" fmla="*/ 848796 w 5225882"/>
              <a:gd name="connsiteY115" fmla="*/ 354010 h 6360069"/>
              <a:gd name="connsiteX116" fmla="*/ 845791 w 5225882"/>
              <a:gd name="connsiteY116" fmla="*/ 351004 h 6360069"/>
              <a:gd name="connsiteX117" fmla="*/ 837343 w 5225882"/>
              <a:gd name="connsiteY117" fmla="*/ 351004 h 6360069"/>
              <a:gd name="connsiteX118" fmla="*/ 837343 w 5225882"/>
              <a:gd name="connsiteY118" fmla="*/ 351001 h 6360069"/>
              <a:gd name="connsiteX119" fmla="*/ 775675 w 5225882"/>
              <a:gd name="connsiteY119" fmla="*/ 351001 h 6360069"/>
              <a:gd name="connsiteX120" fmla="*/ 773671 w 5225882"/>
              <a:gd name="connsiteY120" fmla="*/ 348997 h 6360069"/>
              <a:gd name="connsiteX121" fmla="*/ 773671 w 5225882"/>
              <a:gd name="connsiteY121" fmla="*/ 257122 h 6360069"/>
              <a:gd name="connsiteX122" fmla="*/ 775652 w 5225882"/>
              <a:gd name="connsiteY122" fmla="*/ 255118 h 6360069"/>
              <a:gd name="connsiteX123" fmla="*/ 801277 w 5225882"/>
              <a:gd name="connsiteY123" fmla="*/ 254970 h 6360069"/>
              <a:gd name="connsiteX124" fmla="*/ 838138 w 5225882"/>
              <a:gd name="connsiteY124" fmla="*/ 257936 h 6360069"/>
              <a:gd name="connsiteX125" fmla="*/ 874494 w 5225882"/>
              <a:gd name="connsiteY125" fmla="*/ 272523 h 6360069"/>
              <a:gd name="connsiteX126" fmla="*/ 902318 w 5225882"/>
              <a:gd name="connsiteY126" fmla="*/ 293066 h 6360069"/>
              <a:gd name="connsiteX127" fmla="*/ 903722 w 5225882"/>
              <a:gd name="connsiteY127" fmla="*/ 294549 h 6360069"/>
              <a:gd name="connsiteX128" fmla="*/ 907189 w 5225882"/>
              <a:gd name="connsiteY128" fmla="*/ 293182 h 6360069"/>
              <a:gd name="connsiteX129" fmla="*/ 907189 w 5225882"/>
              <a:gd name="connsiteY129" fmla="*/ 242383 h 6360069"/>
              <a:gd name="connsiteX130" fmla="*/ 904183 w 5225882"/>
              <a:gd name="connsiteY130" fmla="*/ 239377 h 6360069"/>
              <a:gd name="connsiteX131" fmla="*/ 0 w 5225882"/>
              <a:gd name="connsiteY131" fmla="*/ 0 h 6360069"/>
              <a:gd name="connsiteX132" fmla="*/ 5225882 w 5225882"/>
              <a:gd name="connsiteY132" fmla="*/ 0 h 6360069"/>
              <a:gd name="connsiteX133" fmla="*/ 5225882 w 5225882"/>
              <a:gd name="connsiteY133" fmla="*/ 6360069 h 6360069"/>
              <a:gd name="connsiteX134" fmla="*/ 0 w 5225882"/>
              <a:gd name="connsiteY134" fmla="*/ 6360069 h 63600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</a:cxnLst>
            <a:rect l="l" t="t" r="r" b="b"/>
            <a:pathLst>
              <a:path w="5225882" h="6360069">
                <a:moveTo>
                  <a:pt x="606623" y="366808"/>
                </a:moveTo>
                <a:cubicBezTo>
                  <a:pt x="617487" y="369161"/>
                  <a:pt x="626962" y="374078"/>
                  <a:pt x="634460" y="382423"/>
                </a:cubicBezTo>
                <a:cubicBezTo>
                  <a:pt x="642169" y="391003"/>
                  <a:pt x="646332" y="401233"/>
                  <a:pt x="648112" y="412495"/>
                </a:cubicBezTo>
                <a:cubicBezTo>
                  <a:pt x="649806" y="423213"/>
                  <a:pt x="649199" y="433868"/>
                  <a:pt x="646421" y="444333"/>
                </a:cubicBezTo>
                <a:lnTo>
                  <a:pt x="646418" y="444333"/>
                </a:lnTo>
                <a:cubicBezTo>
                  <a:pt x="642364" y="459616"/>
                  <a:pt x="635040" y="472927"/>
                  <a:pt x="622196" y="482654"/>
                </a:cubicBezTo>
                <a:cubicBezTo>
                  <a:pt x="613835" y="488985"/>
                  <a:pt x="603572" y="492347"/>
                  <a:pt x="593084" y="492419"/>
                </a:cubicBezTo>
                <a:cubicBezTo>
                  <a:pt x="579301" y="492518"/>
                  <a:pt x="553073" y="492432"/>
                  <a:pt x="545654" y="492383"/>
                </a:cubicBezTo>
                <a:cubicBezTo>
                  <a:pt x="544553" y="492376"/>
                  <a:pt x="543663" y="491493"/>
                  <a:pt x="543663" y="490392"/>
                </a:cubicBezTo>
                <a:cubicBezTo>
                  <a:pt x="543663" y="479272"/>
                  <a:pt x="543670" y="416305"/>
                  <a:pt x="543627" y="386052"/>
                </a:cubicBezTo>
                <a:cubicBezTo>
                  <a:pt x="543627" y="384846"/>
                  <a:pt x="544355" y="383768"/>
                  <a:pt x="545476" y="383313"/>
                </a:cubicBezTo>
                <a:lnTo>
                  <a:pt x="602599" y="366926"/>
                </a:lnTo>
                <a:cubicBezTo>
                  <a:pt x="603786" y="366468"/>
                  <a:pt x="605338" y="366528"/>
                  <a:pt x="606623" y="366808"/>
                </a:cubicBezTo>
                <a:close/>
                <a:moveTo>
                  <a:pt x="409130" y="364754"/>
                </a:moveTo>
                <a:lnTo>
                  <a:pt x="409130" y="366537"/>
                </a:lnTo>
                <a:lnTo>
                  <a:pt x="409130" y="364754"/>
                </a:lnTo>
                <a:close/>
                <a:moveTo>
                  <a:pt x="545782" y="254966"/>
                </a:moveTo>
                <a:lnTo>
                  <a:pt x="553794" y="254966"/>
                </a:lnTo>
                <a:cubicBezTo>
                  <a:pt x="564802" y="255013"/>
                  <a:pt x="575814" y="254891"/>
                  <a:pt x="586809" y="255316"/>
                </a:cubicBezTo>
                <a:cubicBezTo>
                  <a:pt x="596370" y="255685"/>
                  <a:pt x="605803" y="257184"/>
                  <a:pt x="614692" y="261067"/>
                </a:cubicBezTo>
                <a:cubicBezTo>
                  <a:pt x="625407" y="265750"/>
                  <a:pt x="632868" y="275177"/>
                  <a:pt x="635442" y="286873"/>
                </a:cubicBezTo>
                <a:cubicBezTo>
                  <a:pt x="638007" y="298534"/>
                  <a:pt x="635614" y="309265"/>
                  <a:pt x="629012" y="319120"/>
                </a:cubicBezTo>
                <a:cubicBezTo>
                  <a:pt x="613205" y="342728"/>
                  <a:pt x="586970" y="350233"/>
                  <a:pt x="561708" y="360572"/>
                </a:cubicBezTo>
                <a:cubicBezTo>
                  <a:pt x="556708" y="362619"/>
                  <a:pt x="551632" y="364478"/>
                  <a:pt x="546372" y="366458"/>
                </a:cubicBezTo>
                <a:cubicBezTo>
                  <a:pt x="545064" y="366953"/>
                  <a:pt x="543656" y="365997"/>
                  <a:pt x="543653" y="364596"/>
                </a:cubicBezTo>
                <a:cubicBezTo>
                  <a:pt x="543643" y="352276"/>
                  <a:pt x="543620" y="308521"/>
                  <a:pt x="543775" y="282958"/>
                </a:cubicBezTo>
                <a:lnTo>
                  <a:pt x="543778" y="282961"/>
                </a:lnTo>
                <a:lnTo>
                  <a:pt x="543778" y="256970"/>
                </a:lnTo>
                <a:cubicBezTo>
                  <a:pt x="543778" y="255863"/>
                  <a:pt x="544675" y="254966"/>
                  <a:pt x="545782" y="254966"/>
                </a:cubicBezTo>
                <a:close/>
                <a:moveTo>
                  <a:pt x="482011" y="239377"/>
                </a:moveTo>
                <a:cubicBezTo>
                  <a:pt x="480445" y="239377"/>
                  <a:pt x="479486" y="241091"/>
                  <a:pt x="480300" y="242426"/>
                </a:cubicBezTo>
                <a:lnTo>
                  <a:pt x="491546" y="260873"/>
                </a:lnTo>
                <a:cubicBezTo>
                  <a:pt x="492370" y="262197"/>
                  <a:pt x="492808" y="263723"/>
                  <a:pt x="492805" y="265282"/>
                </a:cubicBezTo>
                <a:lnTo>
                  <a:pt x="492805" y="265207"/>
                </a:lnTo>
                <a:cubicBezTo>
                  <a:pt x="492838" y="337550"/>
                  <a:pt x="492838" y="435035"/>
                  <a:pt x="492805" y="508065"/>
                </a:cubicBezTo>
                <a:cubicBezTo>
                  <a:pt x="492805" y="509729"/>
                  <a:pt x="494156" y="511060"/>
                  <a:pt x="495820" y="511054"/>
                </a:cubicBezTo>
                <a:lnTo>
                  <a:pt x="605519" y="511054"/>
                </a:lnTo>
                <a:cubicBezTo>
                  <a:pt x="617094" y="511011"/>
                  <a:pt x="628521" y="509231"/>
                  <a:pt x="639681" y="506084"/>
                </a:cubicBezTo>
                <a:cubicBezTo>
                  <a:pt x="655385" y="501657"/>
                  <a:pt x="669383" y="494153"/>
                  <a:pt x="680684" y="482235"/>
                </a:cubicBezTo>
                <a:cubicBezTo>
                  <a:pt x="693360" y="468867"/>
                  <a:pt x="700621" y="452902"/>
                  <a:pt x="702493" y="434462"/>
                </a:cubicBezTo>
                <a:cubicBezTo>
                  <a:pt x="704101" y="418586"/>
                  <a:pt x="701254" y="402611"/>
                  <a:pt x="693769" y="388517"/>
                </a:cubicBezTo>
                <a:lnTo>
                  <a:pt x="693772" y="388514"/>
                </a:lnTo>
                <a:cubicBezTo>
                  <a:pt x="684036" y="370176"/>
                  <a:pt x="668839" y="358397"/>
                  <a:pt x="648023" y="353779"/>
                </a:cubicBezTo>
                <a:cubicBezTo>
                  <a:pt x="643636" y="352807"/>
                  <a:pt x="639121" y="352402"/>
                  <a:pt x="634697" y="351868"/>
                </a:cubicBezTo>
                <a:cubicBezTo>
                  <a:pt x="633989" y="351782"/>
                  <a:pt x="633818" y="350833"/>
                  <a:pt x="634450" y="350506"/>
                </a:cubicBezTo>
                <a:cubicBezTo>
                  <a:pt x="640584" y="347366"/>
                  <a:pt x="658411" y="337837"/>
                  <a:pt x="665995" y="330174"/>
                </a:cubicBezTo>
                <a:cubicBezTo>
                  <a:pt x="677573" y="318474"/>
                  <a:pt x="685335" y="304872"/>
                  <a:pt x="685645" y="287918"/>
                </a:cubicBezTo>
                <a:cubicBezTo>
                  <a:pt x="685898" y="274039"/>
                  <a:pt x="680707" y="262639"/>
                  <a:pt x="669597" y="254146"/>
                </a:cubicBezTo>
                <a:cubicBezTo>
                  <a:pt x="661967" y="248312"/>
                  <a:pt x="653200" y="244937"/>
                  <a:pt x="643923" y="242805"/>
                </a:cubicBezTo>
                <a:cubicBezTo>
                  <a:pt x="632865" y="240260"/>
                  <a:pt x="621603" y="239413"/>
                  <a:pt x="610295" y="239397"/>
                </a:cubicBezTo>
                <a:lnTo>
                  <a:pt x="492805" y="239377"/>
                </a:lnTo>
                <a:close/>
                <a:moveTo>
                  <a:pt x="398465" y="239367"/>
                </a:moveTo>
                <a:cubicBezTo>
                  <a:pt x="396906" y="239367"/>
                  <a:pt x="395944" y="241068"/>
                  <a:pt x="396745" y="242402"/>
                </a:cubicBezTo>
                <a:lnTo>
                  <a:pt x="408231" y="261574"/>
                </a:lnTo>
                <a:cubicBezTo>
                  <a:pt x="408791" y="262524"/>
                  <a:pt x="409088" y="263605"/>
                  <a:pt x="409091" y="264709"/>
                </a:cubicBezTo>
                <a:cubicBezTo>
                  <a:pt x="409114" y="279522"/>
                  <a:pt x="409124" y="297573"/>
                  <a:pt x="409128" y="315623"/>
                </a:cubicBezTo>
                <a:lnTo>
                  <a:pt x="409130" y="364754"/>
                </a:lnTo>
                <a:lnTo>
                  <a:pt x="406415" y="366448"/>
                </a:lnTo>
                <a:lnTo>
                  <a:pt x="361743" y="350786"/>
                </a:lnTo>
                <a:cubicBezTo>
                  <a:pt x="361041" y="350510"/>
                  <a:pt x="360260" y="350510"/>
                  <a:pt x="359554" y="350783"/>
                </a:cubicBezTo>
                <a:lnTo>
                  <a:pt x="314329" y="366495"/>
                </a:lnTo>
                <a:cubicBezTo>
                  <a:pt x="313014" y="367005"/>
                  <a:pt x="311550" y="367902"/>
                  <a:pt x="311550" y="366495"/>
                </a:cubicBezTo>
                <a:lnTo>
                  <a:pt x="311547" y="364725"/>
                </a:lnTo>
                <a:lnTo>
                  <a:pt x="311547" y="242386"/>
                </a:lnTo>
                <a:cubicBezTo>
                  <a:pt x="311547" y="240725"/>
                  <a:pt x="310199" y="239377"/>
                  <a:pt x="308538" y="239377"/>
                </a:cubicBezTo>
                <a:lnTo>
                  <a:pt x="250047" y="239377"/>
                </a:lnTo>
                <a:cubicBezTo>
                  <a:pt x="248484" y="239377"/>
                  <a:pt x="247522" y="241091"/>
                  <a:pt x="248336" y="242426"/>
                </a:cubicBezTo>
                <a:lnTo>
                  <a:pt x="259585" y="260952"/>
                </a:lnTo>
                <a:cubicBezTo>
                  <a:pt x="260409" y="262276"/>
                  <a:pt x="260847" y="263802"/>
                  <a:pt x="260844" y="265361"/>
                </a:cubicBezTo>
                <a:cubicBezTo>
                  <a:pt x="260817" y="338622"/>
                  <a:pt x="260817" y="411882"/>
                  <a:pt x="260847" y="485145"/>
                </a:cubicBezTo>
                <a:cubicBezTo>
                  <a:pt x="260847" y="486628"/>
                  <a:pt x="260432" y="488078"/>
                  <a:pt x="259651" y="489337"/>
                </a:cubicBezTo>
                <a:lnTo>
                  <a:pt x="248313" y="508005"/>
                </a:lnTo>
                <a:cubicBezTo>
                  <a:pt x="247502" y="509343"/>
                  <a:pt x="248465" y="511054"/>
                  <a:pt x="250027" y="511054"/>
                </a:cubicBezTo>
                <a:lnTo>
                  <a:pt x="322334" y="511054"/>
                </a:lnTo>
                <a:cubicBezTo>
                  <a:pt x="323893" y="511054"/>
                  <a:pt x="324856" y="509353"/>
                  <a:pt x="324055" y="508015"/>
                </a:cubicBezTo>
                <a:lnTo>
                  <a:pt x="312635" y="488981"/>
                </a:lnTo>
                <a:cubicBezTo>
                  <a:pt x="311999" y="487904"/>
                  <a:pt x="311662" y="486658"/>
                  <a:pt x="311659" y="485405"/>
                </a:cubicBezTo>
                <a:cubicBezTo>
                  <a:pt x="311613" y="450127"/>
                  <a:pt x="311616" y="444626"/>
                  <a:pt x="311620" y="411868"/>
                </a:cubicBezTo>
                <a:lnTo>
                  <a:pt x="311606" y="404239"/>
                </a:lnTo>
                <a:lnTo>
                  <a:pt x="311600" y="399015"/>
                </a:lnTo>
                <a:cubicBezTo>
                  <a:pt x="311620" y="398006"/>
                  <a:pt x="312186" y="397070"/>
                  <a:pt x="313037" y="396526"/>
                </a:cubicBezTo>
                <a:cubicBezTo>
                  <a:pt x="319530" y="392387"/>
                  <a:pt x="347136" y="374784"/>
                  <a:pt x="359548" y="366933"/>
                </a:cubicBezTo>
                <a:cubicBezTo>
                  <a:pt x="360187" y="366531"/>
                  <a:pt x="360998" y="366531"/>
                  <a:pt x="361634" y="366939"/>
                </a:cubicBezTo>
                <a:lnTo>
                  <a:pt x="407822" y="396563"/>
                </a:lnTo>
                <a:cubicBezTo>
                  <a:pt x="408623" y="397077"/>
                  <a:pt x="409111" y="397937"/>
                  <a:pt x="409180" y="398876"/>
                </a:cubicBezTo>
                <a:lnTo>
                  <a:pt x="409186" y="403049"/>
                </a:lnTo>
                <a:lnTo>
                  <a:pt x="409200" y="411605"/>
                </a:lnTo>
                <a:lnTo>
                  <a:pt x="409200" y="508035"/>
                </a:lnTo>
                <a:cubicBezTo>
                  <a:pt x="409200" y="509696"/>
                  <a:pt x="410548" y="511044"/>
                  <a:pt x="412209" y="511044"/>
                </a:cubicBezTo>
                <a:lnTo>
                  <a:pt x="471053" y="511044"/>
                </a:lnTo>
                <a:cubicBezTo>
                  <a:pt x="472612" y="511044"/>
                  <a:pt x="473574" y="509343"/>
                  <a:pt x="472773" y="508008"/>
                </a:cubicBezTo>
                <a:lnTo>
                  <a:pt x="461531" y="489242"/>
                </a:lnTo>
                <a:cubicBezTo>
                  <a:pt x="460855" y="488092"/>
                  <a:pt x="460499" y="486780"/>
                  <a:pt x="460499" y="485445"/>
                </a:cubicBezTo>
                <a:lnTo>
                  <a:pt x="460453" y="242376"/>
                </a:lnTo>
                <a:cubicBezTo>
                  <a:pt x="460453" y="240715"/>
                  <a:pt x="459105" y="239367"/>
                  <a:pt x="457444" y="239367"/>
                </a:cubicBezTo>
                <a:close/>
                <a:moveTo>
                  <a:pt x="712019" y="239367"/>
                </a:moveTo>
                <a:cubicBezTo>
                  <a:pt x="710453" y="239367"/>
                  <a:pt x="709494" y="241081"/>
                  <a:pt x="710308" y="242416"/>
                </a:cubicBezTo>
                <a:lnTo>
                  <a:pt x="721554" y="260945"/>
                </a:lnTo>
                <a:cubicBezTo>
                  <a:pt x="722378" y="262270"/>
                  <a:pt x="722816" y="263796"/>
                  <a:pt x="722813" y="265355"/>
                </a:cubicBezTo>
                <a:lnTo>
                  <a:pt x="722813" y="322627"/>
                </a:lnTo>
                <a:cubicBezTo>
                  <a:pt x="722813" y="322627"/>
                  <a:pt x="722796" y="322627"/>
                  <a:pt x="722796" y="322627"/>
                </a:cubicBezTo>
                <a:lnTo>
                  <a:pt x="722796" y="485148"/>
                </a:lnTo>
                <a:cubicBezTo>
                  <a:pt x="722796" y="486707"/>
                  <a:pt x="722358" y="488233"/>
                  <a:pt x="721537" y="489558"/>
                </a:cubicBezTo>
                <a:lnTo>
                  <a:pt x="710292" y="508005"/>
                </a:lnTo>
                <a:cubicBezTo>
                  <a:pt x="709478" y="509340"/>
                  <a:pt x="710440" y="511054"/>
                  <a:pt x="712002" y="511054"/>
                </a:cubicBezTo>
                <a:lnTo>
                  <a:pt x="784399" y="511054"/>
                </a:lnTo>
                <a:cubicBezTo>
                  <a:pt x="785964" y="511054"/>
                  <a:pt x="786924" y="509340"/>
                  <a:pt x="786109" y="508005"/>
                </a:cubicBezTo>
                <a:lnTo>
                  <a:pt x="774864" y="489558"/>
                </a:lnTo>
                <a:cubicBezTo>
                  <a:pt x="774066" y="488273"/>
                  <a:pt x="773638" y="486796"/>
                  <a:pt x="773615" y="485284"/>
                </a:cubicBezTo>
                <a:cubicBezTo>
                  <a:pt x="773595" y="442985"/>
                  <a:pt x="773595" y="381646"/>
                  <a:pt x="773595" y="369560"/>
                </a:cubicBezTo>
                <a:cubicBezTo>
                  <a:pt x="773595" y="367902"/>
                  <a:pt x="774956" y="366590"/>
                  <a:pt x="776614" y="366590"/>
                </a:cubicBezTo>
                <a:cubicBezTo>
                  <a:pt x="792213" y="366590"/>
                  <a:pt x="805275" y="369935"/>
                  <a:pt x="816899" y="375166"/>
                </a:cubicBezTo>
                <a:cubicBezTo>
                  <a:pt x="827828" y="380083"/>
                  <a:pt x="838049" y="385897"/>
                  <a:pt x="844710" y="396652"/>
                </a:cubicBezTo>
                <a:cubicBezTo>
                  <a:pt x="844865" y="396902"/>
                  <a:pt x="845099" y="397096"/>
                  <a:pt x="845296" y="397324"/>
                </a:cubicBezTo>
                <a:cubicBezTo>
                  <a:pt x="846512" y="398708"/>
                  <a:pt x="848796" y="397841"/>
                  <a:pt x="848796" y="395999"/>
                </a:cubicBezTo>
                <a:lnTo>
                  <a:pt x="848796" y="354010"/>
                </a:lnTo>
                <a:cubicBezTo>
                  <a:pt x="848796" y="352349"/>
                  <a:pt x="847452" y="351004"/>
                  <a:pt x="845791" y="351004"/>
                </a:cubicBezTo>
                <a:lnTo>
                  <a:pt x="837343" y="351004"/>
                </a:lnTo>
                <a:lnTo>
                  <a:pt x="837343" y="351001"/>
                </a:lnTo>
                <a:lnTo>
                  <a:pt x="775675" y="351001"/>
                </a:lnTo>
                <a:cubicBezTo>
                  <a:pt x="774567" y="351001"/>
                  <a:pt x="773671" y="350104"/>
                  <a:pt x="773671" y="348997"/>
                </a:cubicBezTo>
                <a:lnTo>
                  <a:pt x="773671" y="257122"/>
                </a:lnTo>
                <a:cubicBezTo>
                  <a:pt x="773671" y="256021"/>
                  <a:pt x="774551" y="255128"/>
                  <a:pt x="775652" y="255118"/>
                </a:cubicBezTo>
                <a:cubicBezTo>
                  <a:pt x="781940" y="255065"/>
                  <a:pt x="801043" y="254963"/>
                  <a:pt x="801277" y="254970"/>
                </a:cubicBezTo>
                <a:cubicBezTo>
                  <a:pt x="813623" y="255187"/>
                  <a:pt x="825940" y="255863"/>
                  <a:pt x="838138" y="257936"/>
                </a:cubicBezTo>
                <a:cubicBezTo>
                  <a:pt x="850985" y="260118"/>
                  <a:pt x="863193" y="265955"/>
                  <a:pt x="874494" y="272523"/>
                </a:cubicBezTo>
                <a:cubicBezTo>
                  <a:pt x="885011" y="278634"/>
                  <a:pt x="893979" y="284303"/>
                  <a:pt x="902318" y="293066"/>
                </a:cubicBezTo>
                <a:cubicBezTo>
                  <a:pt x="902786" y="293554"/>
                  <a:pt x="903250" y="294048"/>
                  <a:pt x="903722" y="294549"/>
                </a:cubicBezTo>
                <a:cubicBezTo>
                  <a:pt x="904968" y="295874"/>
                  <a:pt x="907189" y="294998"/>
                  <a:pt x="907189" y="293182"/>
                </a:cubicBezTo>
                <a:lnTo>
                  <a:pt x="907189" y="242383"/>
                </a:lnTo>
                <a:cubicBezTo>
                  <a:pt x="907189" y="240722"/>
                  <a:pt x="905844" y="239377"/>
                  <a:pt x="904183" y="239377"/>
                </a:cubicBezTo>
                <a:close/>
                <a:moveTo>
                  <a:pt x="0" y="0"/>
                </a:moveTo>
                <a:lnTo>
                  <a:pt x="5225882" y="0"/>
                </a:lnTo>
                <a:lnTo>
                  <a:pt x="5225882" y="6360069"/>
                </a:lnTo>
                <a:lnTo>
                  <a:pt x="0" y="636006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Content Placeholder 19">
            <a:extLst>
              <a:ext uri="{FF2B5EF4-FFF2-40B4-BE49-F238E27FC236}">
                <a16:creationId xmlns:a16="http://schemas.microsoft.com/office/drawing/2014/main" id="{2F1A7663-97B9-C66F-16AC-7F1779EBFCC1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096000" y="2017643"/>
            <a:ext cx="4922923" cy="414229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/>
            </a:lvl1pPr>
            <a:lvl2pPr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05983023-795A-8A1D-C3B5-0BD867ED3564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096000" y="1564570"/>
            <a:ext cx="4922923" cy="345112"/>
          </a:xfrm>
        </p:spPr>
        <p:txBody>
          <a:bodyPr numCol="1">
            <a:noAutofit/>
          </a:bodyPr>
          <a:lstStyle>
            <a:lvl1pPr marL="0" indent="0">
              <a:buNone/>
              <a:defRPr sz="2400" b="0" i="0">
                <a:latin typeface="Helvetica" pitchFamily="2" charset="0"/>
                <a:ea typeface="Bagoss Standard" panose="020B0504060102020204" pitchFamily="34" charset="77"/>
                <a:cs typeface="Bagoss Standard" panose="020B0504060102020204" pitchFamily="34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9B0DC42-C642-14F8-769C-343DD13CAA7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0" y="1053550"/>
            <a:ext cx="4922923" cy="541204"/>
          </a:xfrm>
        </p:spPr>
        <p:txBody>
          <a:bodyPr anchor="t">
            <a:noAutofit/>
          </a:bodyPr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5197281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1CFE371-06E5-4148-9042-D4D702B6F9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" y="1"/>
            <a:ext cx="12191995" cy="6857998"/>
          </a:xfrm>
          <a:prstGeom prst="rect">
            <a:avLst/>
          </a:prstGeom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041933" y="1916833"/>
            <a:ext cx="6622685" cy="1470025"/>
          </a:xfrm>
        </p:spPr>
        <p:txBody>
          <a:bodyPr/>
          <a:lstStyle>
            <a:lvl1pPr algn="r">
              <a:defRPr sz="4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041933" y="3663516"/>
            <a:ext cx="6622685" cy="2305050"/>
          </a:xfrm>
        </p:spPr>
        <p:txBody>
          <a:bodyPr/>
          <a:lstStyle>
            <a:lvl1pPr marL="0" indent="0" algn="r">
              <a:buFont typeface="Univers" pitchFamily="34" charset="0"/>
              <a:buNone/>
              <a:defRPr sz="3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dt" sz="half" idx="2"/>
          </p:nvPr>
        </p:nvSpPr>
        <p:spPr>
          <a:xfrm>
            <a:off x="4673600" y="6245225"/>
            <a:ext cx="2844800" cy="476250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762521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white hex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white cube with a black background&#10;&#10;Description automatically generated">
            <a:extLst>
              <a:ext uri="{FF2B5EF4-FFF2-40B4-BE49-F238E27FC236}">
                <a16:creationId xmlns:a16="http://schemas.microsoft.com/office/drawing/2014/main" id="{89E85B8B-BC5C-8BEE-9BF7-E262F191BB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1B25059C-D334-4D4C-8063-65073D85414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204686" y="4811001"/>
            <a:ext cx="5369720" cy="1027578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1500"/>
              </a:spcBef>
              <a:buNone/>
              <a:defRPr sz="1667" b="0">
                <a:solidFill>
                  <a:schemeClr val="bg1"/>
                </a:solidFill>
              </a:defRPr>
            </a:lvl1pPr>
            <a:lvl2pPr marL="0" indent="0" algn="l">
              <a:spcBef>
                <a:spcPts val="1500"/>
              </a:spcBef>
              <a:buNone/>
              <a:defRPr sz="1000" b="0"/>
            </a:lvl2pPr>
            <a:lvl3pPr marL="914327" indent="0" algn="ctr">
              <a:buNone/>
              <a:defRPr sz="1800"/>
            </a:lvl3pPr>
            <a:lvl4pPr marL="1371490" indent="0" algn="ctr">
              <a:buNone/>
              <a:defRPr sz="1600"/>
            </a:lvl4pPr>
            <a:lvl5pPr marL="1828654" indent="0" algn="ctr">
              <a:buNone/>
              <a:defRPr sz="1600"/>
            </a:lvl5pPr>
            <a:lvl6pPr marL="2285818" indent="0" algn="ctr">
              <a:buNone/>
              <a:defRPr sz="1600"/>
            </a:lvl6pPr>
            <a:lvl7pPr marL="2742980" indent="0" algn="ctr">
              <a:buNone/>
              <a:defRPr sz="1600"/>
            </a:lvl7pPr>
            <a:lvl8pPr marL="3200144" indent="0" algn="ctr">
              <a:buNone/>
              <a:defRPr sz="1600"/>
            </a:lvl8pPr>
            <a:lvl9pPr marL="3657308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AA2D88-3AA8-4B37-B947-22C9A23B36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205133" y="1655598"/>
            <a:ext cx="6816278" cy="2469092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83000"/>
              </a:lnSpc>
              <a:defRPr sz="5416" b="1">
                <a:latin typeface="+mj-lt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0A9FF0E-B1CC-4B89-9AD1-36C4B38CAC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05134" y="5921473"/>
            <a:ext cx="5369273" cy="48490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/>
            </a:lvl1pPr>
            <a:lvl2pPr>
              <a:lnSpc>
                <a:spcPct val="100000"/>
              </a:lnSpc>
              <a:spcBef>
                <a:spcPts val="0"/>
              </a:spcBef>
              <a:defRPr sz="833" b="0"/>
            </a:lvl2pPr>
            <a:lvl3pPr>
              <a:buNone/>
              <a:defRPr/>
            </a:lvl3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723341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85">
          <p15:clr>
            <a:srgbClr val="FBAE40"/>
          </p15:clr>
        </p15:guide>
        <p15:guide id="2" pos="59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page_cases hex ima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9E85B8B-BC5C-8BEE-9BF7-E262F191BB3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2"/>
            <a:ext cx="12191998" cy="6857999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1B25059C-D334-4D4C-8063-65073D85414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204686" y="4811001"/>
            <a:ext cx="5369720" cy="1027578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1500"/>
              </a:spcBef>
              <a:buNone/>
              <a:defRPr sz="1667" b="0">
                <a:solidFill>
                  <a:schemeClr val="bg1"/>
                </a:solidFill>
              </a:defRPr>
            </a:lvl1pPr>
            <a:lvl2pPr marL="0" indent="0" algn="l">
              <a:spcBef>
                <a:spcPts val="1500"/>
              </a:spcBef>
              <a:buNone/>
              <a:defRPr sz="1000" b="0"/>
            </a:lvl2pPr>
            <a:lvl3pPr marL="914327" indent="0" algn="ctr">
              <a:buNone/>
              <a:defRPr sz="1800"/>
            </a:lvl3pPr>
            <a:lvl4pPr marL="1371490" indent="0" algn="ctr">
              <a:buNone/>
              <a:defRPr sz="1600"/>
            </a:lvl4pPr>
            <a:lvl5pPr marL="1828654" indent="0" algn="ctr">
              <a:buNone/>
              <a:defRPr sz="1600"/>
            </a:lvl5pPr>
            <a:lvl6pPr marL="2285818" indent="0" algn="ctr">
              <a:buNone/>
              <a:defRPr sz="1600"/>
            </a:lvl6pPr>
            <a:lvl7pPr marL="2742980" indent="0" algn="ctr">
              <a:buNone/>
              <a:defRPr sz="1600"/>
            </a:lvl7pPr>
            <a:lvl8pPr marL="3200144" indent="0" algn="ctr">
              <a:buNone/>
              <a:defRPr sz="1600"/>
            </a:lvl8pPr>
            <a:lvl9pPr marL="3657308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AA2D88-3AA8-4B37-B947-22C9A23B36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205133" y="1655598"/>
            <a:ext cx="6816278" cy="2469092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83000"/>
              </a:lnSpc>
              <a:defRPr sz="5416" b="1">
                <a:latin typeface="+mj-lt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0A9FF0E-B1CC-4B89-9AD1-36C4B38CAC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05134" y="5921473"/>
            <a:ext cx="5369273" cy="48490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/>
            </a:lvl1pPr>
            <a:lvl2pPr>
              <a:lnSpc>
                <a:spcPct val="100000"/>
              </a:lnSpc>
              <a:spcBef>
                <a:spcPts val="0"/>
              </a:spcBef>
              <a:defRPr sz="833" b="0"/>
            </a:lvl2pPr>
            <a:lvl3pPr>
              <a:buNone/>
              <a:defRPr/>
            </a:lvl3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5614940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85">
          <p15:clr>
            <a:srgbClr val="FBAE40"/>
          </p15:clr>
        </p15:guide>
        <p15:guide id="2" pos="59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EB1FD583-7765-4842-8B56-537BA9608A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5739" y="183507"/>
            <a:ext cx="4994253" cy="549088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3330" b="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833" b="0"/>
            </a:lvl2pPr>
            <a:lvl3pPr>
              <a:buNone/>
              <a:defRPr/>
            </a:lvl3pPr>
          </a:lstStyle>
          <a:p>
            <a:pPr lvl="0"/>
            <a:r>
              <a:rPr lang="en-GB"/>
              <a:t>0</a:t>
            </a:r>
            <a:r>
              <a:rPr lang="en-US"/>
              <a:t>0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0E3BBB0-3A5E-42F1-8A90-E859303A16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5809" y="1576918"/>
            <a:ext cx="6370641" cy="1530653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8AB82B6-AD98-4743-9559-677672C6F02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44169" y="3670503"/>
            <a:ext cx="3672289" cy="739822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67" b="0">
                <a:solidFill>
                  <a:schemeClr val="tx1"/>
                </a:solidFill>
              </a:defRPr>
            </a:lvl1pPr>
            <a:lvl2pPr marL="45716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2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4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0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857190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EB1FD583-7765-4842-8B56-537BA9608A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5739" y="183507"/>
            <a:ext cx="4994253" cy="549088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333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833" b="0"/>
            </a:lvl2pPr>
            <a:lvl3pPr>
              <a:buNone/>
              <a:defRPr/>
            </a:lvl3pPr>
          </a:lstStyle>
          <a:p>
            <a:pPr lvl="0"/>
            <a:r>
              <a:rPr lang="en-GB"/>
              <a:t>0</a:t>
            </a:r>
            <a:r>
              <a:rPr lang="en-US"/>
              <a:t>0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0E3BBB0-3A5E-42F1-8A90-E859303A16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5809" y="1576918"/>
            <a:ext cx="6370641" cy="1530653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8AB82B6-AD98-4743-9559-677672C6F02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44169" y="3670503"/>
            <a:ext cx="3672289" cy="739822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67" b="0">
                <a:solidFill>
                  <a:schemeClr val="tx1"/>
                </a:solidFill>
              </a:defRPr>
            </a:lvl1pPr>
            <a:lvl2pPr marL="45716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2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4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0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689469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_alt layou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66DE7D7-60D7-9A4A-2230-FB8B6AE73D5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5734844" cy="6858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9E85B8B-BC5C-8BEE-9BF7-E262F191BB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9D8F881F-AE72-8F8D-CE73-951034636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4221" y="3531360"/>
            <a:ext cx="5794291" cy="1530653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4D1B943-203D-684B-3611-91CE39F2C6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02581" y="5624946"/>
            <a:ext cx="3672289" cy="739822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67" b="0">
                <a:solidFill>
                  <a:schemeClr val="tx1"/>
                </a:solidFill>
              </a:defRPr>
            </a:lvl1pPr>
            <a:lvl2pPr marL="45716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2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4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0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0451B5D8-AA93-DC9D-4D98-A3AE730F8E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84221" y="1365794"/>
            <a:ext cx="2801345" cy="1602634"/>
          </a:xfrm>
          <a:prstGeom prst="rect">
            <a:avLst/>
          </a:prstGeom>
        </p:spPr>
        <p:txBody>
          <a:bodyPr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666" b="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833" b="0"/>
            </a:lvl2pPr>
            <a:lvl3pPr>
              <a:buNone/>
              <a:defRPr/>
            </a:lvl3pPr>
          </a:lstStyle>
          <a:p>
            <a:pPr lvl="0"/>
            <a:r>
              <a:rPr lang="en-GB"/>
              <a:t>0</a:t>
            </a:r>
            <a:r>
              <a:rPr lang="en-US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17847646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85">
          <p15:clr>
            <a:srgbClr val="FBAE40"/>
          </p15:clr>
        </p15:guide>
        <p15:guide id="2" pos="59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_alt layout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66DE7D7-60D7-9A4A-2230-FB8B6AE73D5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5734844" cy="6858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9E85B8B-BC5C-8BEE-9BF7-E262F191BB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9D8F881F-AE72-8F8D-CE73-951034636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4221" y="3531360"/>
            <a:ext cx="5794291" cy="1530653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4D1B943-203D-684B-3611-91CE39F2C6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02581" y="5624946"/>
            <a:ext cx="3672289" cy="739822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67" b="0">
                <a:solidFill>
                  <a:schemeClr val="tx1"/>
                </a:solidFill>
              </a:defRPr>
            </a:lvl1pPr>
            <a:lvl2pPr marL="45716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2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4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0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0451B5D8-AA93-DC9D-4D98-A3AE730F8E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84221" y="1365794"/>
            <a:ext cx="2801345" cy="1602634"/>
          </a:xfrm>
          <a:prstGeom prst="rect">
            <a:avLst/>
          </a:prstGeom>
        </p:spPr>
        <p:txBody>
          <a:bodyPr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666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833" b="0"/>
            </a:lvl2pPr>
            <a:lvl3pPr>
              <a:buNone/>
              <a:defRPr/>
            </a:lvl3pPr>
          </a:lstStyle>
          <a:p>
            <a:pPr lvl="0"/>
            <a:r>
              <a:rPr lang="en-GB"/>
              <a:t>0</a:t>
            </a:r>
            <a:r>
              <a:rPr lang="en-US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33878798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85">
          <p15:clr>
            <a:srgbClr val="FBAE40"/>
          </p15:clr>
        </p15:guide>
        <p15:guide id="2" pos="59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_8 it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Rectangle 212">
            <a:extLst>
              <a:ext uri="{FF2B5EF4-FFF2-40B4-BE49-F238E27FC236}">
                <a16:creationId xmlns:a16="http://schemas.microsoft.com/office/drawing/2014/main" id="{40E1727A-55FE-AA59-1FA2-7405F7232CBA}"/>
              </a:ext>
            </a:extLst>
          </p:cNvPr>
          <p:cNvSpPr/>
          <p:nvPr userDrawn="1"/>
        </p:nvSpPr>
        <p:spPr>
          <a:xfrm>
            <a:off x="6565342" y="4984390"/>
            <a:ext cx="5231107" cy="11620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214" name="Text Placeholder 176">
            <a:extLst>
              <a:ext uri="{FF2B5EF4-FFF2-40B4-BE49-F238E27FC236}">
                <a16:creationId xmlns:a16="http://schemas.microsoft.com/office/drawing/2014/main" id="{E15BCA9A-94BB-CF46-563F-5963BBEDC3B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13832" y="5478399"/>
            <a:ext cx="3294063" cy="613833"/>
          </a:xfrm>
          <a:prstGeom prst="rect">
            <a:avLst/>
          </a:prstGeom>
        </p:spPr>
        <p:txBody>
          <a:bodyPr/>
          <a:lstStyle>
            <a:lvl1pPr algn="l">
              <a:lnSpc>
                <a:spcPts val="2188"/>
              </a:lnSpc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algn="l">
              <a:lnSpc>
                <a:spcPts val="2626"/>
              </a:lnSpc>
            </a:pPr>
            <a:endParaRPr lang="en-US" sz="100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215" name="Text Placeholder 174">
            <a:extLst>
              <a:ext uri="{FF2B5EF4-FFF2-40B4-BE49-F238E27FC236}">
                <a16:creationId xmlns:a16="http://schemas.microsoft.com/office/drawing/2014/main" id="{43D831B5-7757-73FA-5868-961128342A6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131903" y="5078817"/>
            <a:ext cx="1984375" cy="375708"/>
          </a:xfrm>
          <a:prstGeom prst="rect">
            <a:avLst/>
          </a:prstGeom>
        </p:spPr>
        <p:txBody>
          <a:bodyPr/>
          <a:lstStyle>
            <a:lvl1pPr>
              <a:defRPr sz="1833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GENDA ITEM 8</a:t>
            </a:r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EA2DF1A3-BA99-C5E7-68B7-AA7F3EBE904D}"/>
              </a:ext>
            </a:extLst>
          </p:cNvPr>
          <p:cNvSpPr/>
          <p:nvPr userDrawn="1"/>
        </p:nvSpPr>
        <p:spPr>
          <a:xfrm>
            <a:off x="6565343" y="4984390"/>
            <a:ext cx="123249" cy="116206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217" name="Text Placeholder 172">
            <a:extLst>
              <a:ext uri="{FF2B5EF4-FFF2-40B4-BE49-F238E27FC236}">
                <a16:creationId xmlns:a16="http://schemas.microsoft.com/office/drawing/2014/main" id="{44033374-4A86-883B-3458-4A396BF60E9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067684" y="5302715"/>
            <a:ext cx="709083" cy="538428"/>
          </a:xfrm>
          <a:prstGeom prst="rect">
            <a:avLst/>
          </a:prstGeom>
        </p:spPr>
        <p:txBody>
          <a:bodyPr/>
          <a:lstStyle>
            <a:lvl1pPr>
              <a:defRPr sz="3000" b="1">
                <a:solidFill>
                  <a:schemeClr val="tx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08.</a:t>
            </a:r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C7188C54-35CF-CF27-6812-FDA48E40A8D1}"/>
              </a:ext>
            </a:extLst>
          </p:cNvPr>
          <p:cNvSpPr/>
          <p:nvPr userDrawn="1"/>
        </p:nvSpPr>
        <p:spPr>
          <a:xfrm>
            <a:off x="402899" y="4984390"/>
            <a:ext cx="5231107" cy="11620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219" name="Text Placeholder 176">
            <a:extLst>
              <a:ext uri="{FF2B5EF4-FFF2-40B4-BE49-F238E27FC236}">
                <a16:creationId xmlns:a16="http://schemas.microsoft.com/office/drawing/2014/main" id="{46B5B4BA-4C6C-B600-08C6-FCD559D0282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1951389" y="5478399"/>
            <a:ext cx="3294063" cy="613833"/>
          </a:xfrm>
          <a:prstGeom prst="rect">
            <a:avLst/>
          </a:prstGeom>
        </p:spPr>
        <p:txBody>
          <a:bodyPr/>
          <a:lstStyle>
            <a:lvl1pPr algn="l">
              <a:lnSpc>
                <a:spcPts val="2188"/>
              </a:lnSpc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algn="l">
              <a:lnSpc>
                <a:spcPts val="2626"/>
              </a:lnSpc>
            </a:pPr>
            <a:endParaRPr lang="en-US" sz="100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220" name="Text Placeholder 174">
            <a:extLst>
              <a:ext uri="{FF2B5EF4-FFF2-40B4-BE49-F238E27FC236}">
                <a16:creationId xmlns:a16="http://schemas.microsoft.com/office/drawing/2014/main" id="{BE2C6CC3-D4ED-0A43-2D1D-54B48B9EEBB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969459" y="5078817"/>
            <a:ext cx="1984375" cy="375708"/>
          </a:xfrm>
          <a:prstGeom prst="rect">
            <a:avLst/>
          </a:prstGeom>
        </p:spPr>
        <p:txBody>
          <a:bodyPr/>
          <a:lstStyle>
            <a:lvl1pPr>
              <a:defRPr sz="1833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GENDA ITEM 7</a:t>
            </a:r>
          </a:p>
        </p:txBody>
      </p:sp>
      <p:sp>
        <p:nvSpPr>
          <p:cNvPr id="221" name="Rectangle 220">
            <a:extLst>
              <a:ext uri="{FF2B5EF4-FFF2-40B4-BE49-F238E27FC236}">
                <a16:creationId xmlns:a16="http://schemas.microsoft.com/office/drawing/2014/main" id="{58F59C1A-33C6-44BA-C311-681D3E1CFBBC}"/>
              </a:ext>
            </a:extLst>
          </p:cNvPr>
          <p:cNvSpPr/>
          <p:nvPr userDrawn="1"/>
        </p:nvSpPr>
        <p:spPr>
          <a:xfrm>
            <a:off x="402900" y="4984390"/>
            <a:ext cx="123249" cy="116206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222" name="Text Placeholder 172">
            <a:extLst>
              <a:ext uri="{FF2B5EF4-FFF2-40B4-BE49-F238E27FC236}">
                <a16:creationId xmlns:a16="http://schemas.microsoft.com/office/drawing/2014/main" id="{A9255CFA-7BCC-E344-7D04-7BCED194B0D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05241" y="5302715"/>
            <a:ext cx="709083" cy="538428"/>
          </a:xfrm>
          <a:prstGeom prst="rect">
            <a:avLst/>
          </a:prstGeom>
        </p:spPr>
        <p:txBody>
          <a:bodyPr/>
          <a:lstStyle>
            <a:lvl1pPr>
              <a:defRPr sz="3000" b="1">
                <a:solidFill>
                  <a:schemeClr val="accent5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07.</a:t>
            </a:r>
          </a:p>
        </p:txBody>
      </p:sp>
      <p:sp>
        <p:nvSpPr>
          <p:cNvPr id="203" name="Rectangle 202">
            <a:extLst>
              <a:ext uri="{FF2B5EF4-FFF2-40B4-BE49-F238E27FC236}">
                <a16:creationId xmlns:a16="http://schemas.microsoft.com/office/drawing/2014/main" id="{11381783-4E39-6E7F-284D-05E4D687D943}"/>
              </a:ext>
            </a:extLst>
          </p:cNvPr>
          <p:cNvSpPr/>
          <p:nvPr userDrawn="1"/>
        </p:nvSpPr>
        <p:spPr>
          <a:xfrm>
            <a:off x="6565342" y="3454054"/>
            <a:ext cx="5231107" cy="11620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204" name="Text Placeholder 176">
            <a:extLst>
              <a:ext uri="{FF2B5EF4-FFF2-40B4-BE49-F238E27FC236}">
                <a16:creationId xmlns:a16="http://schemas.microsoft.com/office/drawing/2014/main" id="{014B7E7C-D3A9-8243-0A37-D4B6B62B94C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13832" y="3948063"/>
            <a:ext cx="3294063" cy="613833"/>
          </a:xfrm>
          <a:prstGeom prst="rect">
            <a:avLst/>
          </a:prstGeom>
        </p:spPr>
        <p:txBody>
          <a:bodyPr/>
          <a:lstStyle>
            <a:lvl1pPr algn="l">
              <a:lnSpc>
                <a:spcPts val="2188"/>
              </a:lnSpc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algn="l">
              <a:lnSpc>
                <a:spcPts val="2626"/>
              </a:lnSpc>
            </a:pPr>
            <a:endParaRPr lang="en-US" sz="100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205" name="Text Placeholder 174">
            <a:extLst>
              <a:ext uri="{FF2B5EF4-FFF2-40B4-BE49-F238E27FC236}">
                <a16:creationId xmlns:a16="http://schemas.microsoft.com/office/drawing/2014/main" id="{83EA57E9-3533-EA8D-2682-27817D01996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31903" y="3548481"/>
            <a:ext cx="1984375" cy="375708"/>
          </a:xfrm>
          <a:prstGeom prst="rect">
            <a:avLst/>
          </a:prstGeom>
        </p:spPr>
        <p:txBody>
          <a:bodyPr/>
          <a:lstStyle>
            <a:lvl1pPr>
              <a:defRPr sz="1833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GENDA ITEM 6</a:t>
            </a:r>
          </a:p>
        </p:txBody>
      </p:sp>
      <p:sp>
        <p:nvSpPr>
          <p:cNvPr id="206" name="Rectangle 205">
            <a:extLst>
              <a:ext uri="{FF2B5EF4-FFF2-40B4-BE49-F238E27FC236}">
                <a16:creationId xmlns:a16="http://schemas.microsoft.com/office/drawing/2014/main" id="{2F6E586F-E53D-2DC7-EA54-FA6A55209C11}"/>
              </a:ext>
            </a:extLst>
          </p:cNvPr>
          <p:cNvSpPr/>
          <p:nvPr userDrawn="1"/>
        </p:nvSpPr>
        <p:spPr>
          <a:xfrm>
            <a:off x="6565343" y="3454054"/>
            <a:ext cx="123249" cy="116206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207" name="Text Placeholder 172">
            <a:extLst>
              <a:ext uri="{FF2B5EF4-FFF2-40B4-BE49-F238E27FC236}">
                <a16:creationId xmlns:a16="http://schemas.microsoft.com/office/drawing/2014/main" id="{9B244DA5-0269-8641-388B-095DB3DD9D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67684" y="3772379"/>
            <a:ext cx="709083" cy="538428"/>
          </a:xfrm>
          <a:prstGeom prst="rect">
            <a:avLst/>
          </a:prstGeom>
        </p:spPr>
        <p:txBody>
          <a:bodyPr/>
          <a:lstStyle>
            <a:lvl1pPr>
              <a:defRPr sz="3000" b="1">
                <a:solidFill>
                  <a:schemeClr val="accent6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06.</a:t>
            </a:r>
          </a:p>
        </p:txBody>
      </p:sp>
      <p:sp>
        <p:nvSpPr>
          <p:cNvPr id="208" name="Rectangle 207">
            <a:extLst>
              <a:ext uri="{FF2B5EF4-FFF2-40B4-BE49-F238E27FC236}">
                <a16:creationId xmlns:a16="http://schemas.microsoft.com/office/drawing/2014/main" id="{B7866EB5-D732-F5F1-D30D-E366DBBC25DD}"/>
              </a:ext>
            </a:extLst>
          </p:cNvPr>
          <p:cNvSpPr/>
          <p:nvPr userDrawn="1"/>
        </p:nvSpPr>
        <p:spPr>
          <a:xfrm>
            <a:off x="402899" y="3454054"/>
            <a:ext cx="5231107" cy="11620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209" name="Text Placeholder 176">
            <a:extLst>
              <a:ext uri="{FF2B5EF4-FFF2-40B4-BE49-F238E27FC236}">
                <a16:creationId xmlns:a16="http://schemas.microsoft.com/office/drawing/2014/main" id="{B327DE49-C637-2B67-3270-70C957FCBF6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51389" y="3948063"/>
            <a:ext cx="3294063" cy="613833"/>
          </a:xfrm>
          <a:prstGeom prst="rect">
            <a:avLst/>
          </a:prstGeom>
        </p:spPr>
        <p:txBody>
          <a:bodyPr/>
          <a:lstStyle>
            <a:lvl1pPr algn="l">
              <a:lnSpc>
                <a:spcPts val="2188"/>
              </a:lnSpc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algn="l">
              <a:lnSpc>
                <a:spcPts val="2626"/>
              </a:lnSpc>
            </a:pPr>
            <a:endParaRPr lang="en-US" sz="100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210" name="Text Placeholder 174">
            <a:extLst>
              <a:ext uri="{FF2B5EF4-FFF2-40B4-BE49-F238E27FC236}">
                <a16:creationId xmlns:a16="http://schemas.microsoft.com/office/drawing/2014/main" id="{B3057448-81FB-7CCE-DA9F-95CC7AEB6C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969459" y="3548481"/>
            <a:ext cx="1984375" cy="375708"/>
          </a:xfrm>
          <a:prstGeom prst="rect">
            <a:avLst/>
          </a:prstGeom>
        </p:spPr>
        <p:txBody>
          <a:bodyPr/>
          <a:lstStyle>
            <a:lvl1pPr>
              <a:defRPr sz="1833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GENDA ITEM 5</a:t>
            </a:r>
          </a:p>
        </p:txBody>
      </p:sp>
      <p:sp>
        <p:nvSpPr>
          <p:cNvPr id="211" name="Rectangle 210">
            <a:extLst>
              <a:ext uri="{FF2B5EF4-FFF2-40B4-BE49-F238E27FC236}">
                <a16:creationId xmlns:a16="http://schemas.microsoft.com/office/drawing/2014/main" id="{763743F6-86C2-597C-C6B9-8B896CD31995}"/>
              </a:ext>
            </a:extLst>
          </p:cNvPr>
          <p:cNvSpPr/>
          <p:nvPr userDrawn="1"/>
        </p:nvSpPr>
        <p:spPr>
          <a:xfrm>
            <a:off x="402900" y="3454054"/>
            <a:ext cx="123249" cy="116206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212" name="Text Placeholder 172">
            <a:extLst>
              <a:ext uri="{FF2B5EF4-FFF2-40B4-BE49-F238E27FC236}">
                <a16:creationId xmlns:a16="http://schemas.microsoft.com/office/drawing/2014/main" id="{014FAA35-5AB0-ED0B-4AF6-1169D459FBE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05241" y="3772379"/>
            <a:ext cx="709083" cy="538428"/>
          </a:xfrm>
          <a:prstGeom prst="rect">
            <a:avLst/>
          </a:prstGeom>
        </p:spPr>
        <p:txBody>
          <a:bodyPr/>
          <a:lstStyle>
            <a:lvl1pPr>
              <a:defRPr sz="30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05.</a:t>
            </a: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A5FF917F-A9A5-2981-AE42-3A40AA956C42}"/>
              </a:ext>
            </a:extLst>
          </p:cNvPr>
          <p:cNvSpPr/>
          <p:nvPr userDrawn="1"/>
        </p:nvSpPr>
        <p:spPr>
          <a:xfrm>
            <a:off x="6565342" y="1923718"/>
            <a:ext cx="5231107" cy="11620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194" name="Text Placeholder 176">
            <a:extLst>
              <a:ext uri="{FF2B5EF4-FFF2-40B4-BE49-F238E27FC236}">
                <a16:creationId xmlns:a16="http://schemas.microsoft.com/office/drawing/2014/main" id="{E237AAD5-9061-9C4E-93C5-C379BD10E2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13832" y="2417727"/>
            <a:ext cx="3294063" cy="613833"/>
          </a:xfrm>
          <a:prstGeom prst="rect">
            <a:avLst/>
          </a:prstGeom>
        </p:spPr>
        <p:txBody>
          <a:bodyPr/>
          <a:lstStyle>
            <a:lvl1pPr algn="l">
              <a:lnSpc>
                <a:spcPts val="2188"/>
              </a:lnSpc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algn="l">
              <a:lnSpc>
                <a:spcPts val="2626"/>
              </a:lnSpc>
            </a:pPr>
            <a:endParaRPr lang="en-US" sz="100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195" name="Text Placeholder 174">
            <a:extLst>
              <a:ext uri="{FF2B5EF4-FFF2-40B4-BE49-F238E27FC236}">
                <a16:creationId xmlns:a16="http://schemas.microsoft.com/office/drawing/2014/main" id="{D3F6B97D-7B20-5BB6-26C5-3B812101179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31903" y="2018145"/>
            <a:ext cx="1984375" cy="375708"/>
          </a:xfrm>
          <a:prstGeom prst="rect">
            <a:avLst/>
          </a:prstGeom>
        </p:spPr>
        <p:txBody>
          <a:bodyPr/>
          <a:lstStyle>
            <a:lvl1pPr>
              <a:defRPr sz="1833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GENDA ITEM 4</a:t>
            </a: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31773114-4F4F-EC32-498E-F1C2FEC69FB7}"/>
              </a:ext>
            </a:extLst>
          </p:cNvPr>
          <p:cNvSpPr/>
          <p:nvPr userDrawn="1"/>
        </p:nvSpPr>
        <p:spPr>
          <a:xfrm>
            <a:off x="6565343" y="1923718"/>
            <a:ext cx="123249" cy="116206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197" name="Text Placeholder 172">
            <a:extLst>
              <a:ext uri="{FF2B5EF4-FFF2-40B4-BE49-F238E27FC236}">
                <a16:creationId xmlns:a16="http://schemas.microsoft.com/office/drawing/2014/main" id="{B1CB98C7-37E2-3EE5-94F3-3CA41637C6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67684" y="2242044"/>
            <a:ext cx="709083" cy="538428"/>
          </a:xfrm>
          <a:prstGeom prst="rect">
            <a:avLst/>
          </a:prstGeom>
        </p:spPr>
        <p:txBody>
          <a:bodyPr/>
          <a:lstStyle>
            <a:lvl1pPr>
              <a:defRPr sz="3000" b="1">
                <a:solidFill>
                  <a:schemeClr val="accent4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04.</a:t>
            </a: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55E237BB-BC76-C4D6-0CD8-51F2FD5A051E}"/>
              </a:ext>
            </a:extLst>
          </p:cNvPr>
          <p:cNvSpPr/>
          <p:nvPr userDrawn="1"/>
        </p:nvSpPr>
        <p:spPr>
          <a:xfrm>
            <a:off x="402899" y="1923718"/>
            <a:ext cx="5231107" cy="11620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199" name="Text Placeholder 176">
            <a:extLst>
              <a:ext uri="{FF2B5EF4-FFF2-40B4-BE49-F238E27FC236}">
                <a16:creationId xmlns:a16="http://schemas.microsoft.com/office/drawing/2014/main" id="{CB2169F3-840B-1E5D-E096-FAD94CD393B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951389" y="2417727"/>
            <a:ext cx="3294063" cy="613833"/>
          </a:xfrm>
          <a:prstGeom prst="rect">
            <a:avLst/>
          </a:prstGeom>
        </p:spPr>
        <p:txBody>
          <a:bodyPr/>
          <a:lstStyle>
            <a:lvl1pPr algn="l">
              <a:lnSpc>
                <a:spcPts val="2188"/>
              </a:lnSpc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algn="l">
              <a:lnSpc>
                <a:spcPts val="2626"/>
              </a:lnSpc>
            </a:pPr>
            <a:endParaRPr lang="en-US" sz="100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200" name="Text Placeholder 174">
            <a:extLst>
              <a:ext uri="{FF2B5EF4-FFF2-40B4-BE49-F238E27FC236}">
                <a16:creationId xmlns:a16="http://schemas.microsoft.com/office/drawing/2014/main" id="{7219B361-AF60-2B3E-FBA4-92ACE18E0C1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69459" y="2018145"/>
            <a:ext cx="1984375" cy="375708"/>
          </a:xfrm>
          <a:prstGeom prst="rect">
            <a:avLst/>
          </a:prstGeom>
        </p:spPr>
        <p:txBody>
          <a:bodyPr/>
          <a:lstStyle>
            <a:lvl1pPr>
              <a:defRPr sz="1833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GENDA ITEM 3</a:t>
            </a: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193A4A67-3DED-BEB3-CC14-693317C08B86}"/>
              </a:ext>
            </a:extLst>
          </p:cNvPr>
          <p:cNvSpPr/>
          <p:nvPr userDrawn="1"/>
        </p:nvSpPr>
        <p:spPr>
          <a:xfrm>
            <a:off x="402900" y="1923718"/>
            <a:ext cx="123249" cy="116206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202" name="Text Placeholder 172">
            <a:extLst>
              <a:ext uri="{FF2B5EF4-FFF2-40B4-BE49-F238E27FC236}">
                <a16:creationId xmlns:a16="http://schemas.microsoft.com/office/drawing/2014/main" id="{4720EB86-5FFD-FB4B-7A07-B6A9278516B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5241" y="2242044"/>
            <a:ext cx="709083" cy="538428"/>
          </a:xfrm>
          <a:prstGeom prst="rect">
            <a:avLst/>
          </a:prstGeom>
        </p:spPr>
        <p:txBody>
          <a:bodyPr/>
          <a:lstStyle>
            <a:lvl1pPr>
              <a:defRPr sz="3000" b="1">
                <a:solidFill>
                  <a:schemeClr val="accent3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03.</a:t>
            </a: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47C27822-D72A-2398-11D6-343FAA5F9F10}"/>
              </a:ext>
            </a:extLst>
          </p:cNvPr>
          <p:cNvSpPr/>
          <p:nvPr userDrawn="1"/>
        </p:nvSpPr>
        <p:spPr>
          <a:xfrm>
            <a:off x="6565342" y="399899"/>
            <a:ext cx="5231107" cy="11620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179" name="Text Placeholder 176">
            <a:extLst>
              <a:ext uri="{FF2B5EF4-FFF2-40B4-BE49-F238E27FC236}">
                <a16:creationId xmlns:a16="http://schemas.microsoft.com/office/drawing/2014/main" id="{AC6895D2-7C2F-AF67-61AB-E7F1D208E22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13832" y="893909"/>
            <a:ext cx="3294063" cy="613833"/>
          </a:xfrm>
          <a:prstGeom prst="rect">
            <a:avLst/>
          </a:prstGeom>
        </p:spPr>
        <p:txBody>
          <a:bodyPr/>
          <a:lstStyle>
            <a:lvl1pPr algn="l">
              <a:lnSpc>
                <a:spcPts val="2188"/>
              </a:lnSpc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algn="l">
              <a:lnSpc>
                <a:spcPts val="2626"/>
              </a:lnSpc>
            </a:pPr>
            <a:endParaRPr lang="en-US" sz="100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180" name="Text Placeholder 174">
            <a:extLst>
              <a:ext uri="{FF2B5EF4-FFF2-40B4-BE49-F238E27FC236}">
                <a16:creationId xmlns:a16="http://schemas.microsoft.com/office/drawing/2014/main" id="{3F11974C-A1C0-22F0-8EDA-E25023829CC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31903" y="494327"/>
            <a:ext cx="1984375" cy="375708"/>
          </a:xfrm>
          <a:prstGeom prst="rect">
            <a:avLst/>
          </a:prstGeom>
        </p:spPr>
        <p:txBody>
          <a:bodyPr/>
          <a:lstStyle>
            <a:lvl1pPr>
              <a:defRPr sz="1833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GENDA ITEM 2</a:t>
            </a: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75C2D4FC-EE74-9103-7981-B255194ED56E}"/>
              </a:ext>
            </a:extLst>
          </p:cNvPr>
          <p:cNvSpPr/>
          <p:nvPr userDrawn="1"/>
        </p:nvSpPr>
        <p:spPr>
          <a:xfrm>
            <a:off x="6565343" y="399899"/>
            <a:ext cx="123249" cy="116206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182" name="Text Placeholder 172">
            <a:extLst>
              <a:ext uri="{FF2B5EF4-FFF2-40B4-BE49-F238E27FC236}">
                <a16:creationId xmlns:a16="http://schemas.microsoft.com/office/drawing/2014/main" id="{196BF33C-8B54-73CC-B584-D158305DD5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67684" y="718225"/>
            <a:ext cx="709083" cy="538428"/>
          </a:xfrm>
          <a:prstGeom prst="rect">
            <a:avLst/>
          </a:prstGeom>
        </p:spPr>
        <p:txBody>
          <a:bodyPr/>
          <a:lstStyle>
            <a:lvl1pPr>
              <a:defRPr sz="3000" b="1"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02.</a:t>
            </a: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642377BB-E92E-F293-5BE3-7864D4DD01E1}"/>
              </a:ext>
            </a:extLst>
          </p:cNvPr>
          <p:cNvSpPr/>
          <p:nvPr userDrawn="1"/>
        </p:nvSpPr>
        <p:spPr>
          <a:xfrm>
            <a:off x="402899" y="399899"/>
            <a:ext cx="5231107" cy="11620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177" name="Text Placeholder 176">
            <a:extLst>
              <a:ext uri="{FF2B5EF4-FFF2-40B4-BE49-F238E27FC236}">
                <a16:creationId xmlns:a16="http://schemas.microsoft.com/office/drawing/2014/main" id="{8543DDA4-8391-7CD5-6FF4-179AFBE2E2C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951389" y="893909"/>
            <a:ext cx="3294063" cy="613833"/>
          </a:xfrm>
          <a:prstGeom prst="rect">
            <a:avLst/>
          </a:prstGeom>
        </p:spPr>
        <p:txBody>
          <a:bodyPr/>
          <a:lstStyle>
            <a:lvl1pPr algn="l">
              <a:lnSpc>
                <a:spcPts val="2188"/>
              </a:lnSpc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algn="l">
              <a:lnSpc>
                <a:spcPts val="2626"/>
              </a:lnSpc>
            </a:pPr>
            <a:endParaRPr lang="en-US" sz="100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175" name="Text Placeholder 174">
            <a:extLst>
              <a:ext uri="{FF2B5EF4-FFF2-40B4-BE49-F238E27FC236}">
                <a16:creationId xmlns:a16="http://schemas.microsoft.com/office/drawing/2014/main" id="{6D8A3A45-87BC-91A4-25AF-828C7F7C1AD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69459" y="494327"/>
            <a:ext cx="1984375" cy="375708"/>
          </a:xfrm>
          <a:prstGeom prst="rect">
            <a:avLst/>
          </a:prstGeom>
        </p:spPr>
        <p:txBody>
          <a:bodyPr/>
          <a:lstStyle>
            <a:lvl1pPr>
              <a:defRPr sz="1833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GENDA ITEM 1</a:t>
            </a: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0393C9D4-CFC9-D1E8-CD3B-DB534711C6AD}"/>
              </a:ext>
            </a:extLst>
          </p:cNvPr>
          <p:cNvSpPr/>
          <p:nvPr userDrawn="1"/>
        </p:nvSpPr>
        <p:spPr>
          <a:xfrm>
            <a:off x="402900" y="399899"/>
            <a:ext cx="123249" cy="116206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173" name="Text Placeholder 172">
            <a:extLst>
              <a:ext uri="{FF2B5EF4-FFF2-40B4-BE49-F238E27FC236}">
                <a16:creationId xmlns:a16="http://schemas.microsoft.com/office/drawing/2014/main" id="{9EAB7913-617B-E677-15C7-CD0289FE2CF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05241" y="718225"/>
            <a:ext cx="709083" cy="538428"/>
          </a:xfrm>
          <a:prstGeom prst="rect">
            <a:avLst/>
          </a:prstGeom>
        </p:spPr>
        <p:txBody>
          <a:bodyPr/>
          <a:lstStyle>
            <a:lvl1pPr>
              <a:defRPr sz="3000" b="1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01.</a:t>
            </a:r>
          </a:p>
        </p:txBody>
      </p:sp>
    </p:spTree>
    <p:extLst>
      <p:ext uri="{BB962C8B-B14F-4D97-AF65-F5344CB8AC3E}">
        <p14:creationId xmlns:p14="http://schemas.microsoft.com/office/powerpoint/2010/main" val="161016740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_4 it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" name="Rectangle 177">
            <a:extLst>
              <a:ext uri="{FF2B5EF4-FFF2-40B4-BE49-F238E27FC236}">
                <a16:creationId xmlns:a16="http://schemas.microsoft.com/office/drawing/2014/main" id="{47C27822-D72A-2398-11D6-343FAA5F9F10}"/>
              </a:ext>
            </a:extLst>
          </p:cNvPr>
          <p:cNvSpPr/>
          <p:nvPr userDrawn="1"/>
        </p:nvSpPr>
        <p:spPr>
          <a:xfrm>
            <a:off x="6565342" y="854641"/>
            <a:ext cx="5231107" cy="23016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179" name="Text Placeholder 176">
            <a:extLst>
              <a:ext uri="{FF2B5EF4-FFF2-40B4-BE49-F238E27FC236}">
                <a16:creationId xmlns:a16="http://schemas.microsoft.com/office/drawing/2014/main" id="{AC6895D2-7C2F-AF67-61AB-E7F1D208E22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13832" y="1348650"/>
            <a:ext cx="3294063" cy="613833"/>
          </a:xfrm>
          <a:prstGeom prst="rect">
            <a:avLst/>
          </a:prstGeom>
        </p:spPr>
        <p:txBody>
          <a:bodyPr/>
          <a:lstStyle>
            <a:lvl1pPr algn="l">
              <a:lnSpc>
                <a:spcPts val="2188"/>
              </a:lnSpc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algn="l">
              <a:lnSpc>
                <a:spcPts val="2626"/>
              </a:lnSpc>
            </a:pPr>
            <a:endParaRPr lang="en-US" sz="100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180" name="Text Placeholder 174">
            <a:extLst>
              <a:ext uri="{FF2B5EF4-FFF2-40B4-BE49-F238E27FC236}">
                <a16:creationId xmlns:a16="http://schemas.microsoft.com/office/drawing/2014/main" id="{3F11974C-A1C0-22F0-8EDA-E25023829CC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31903" y="949069"/>
            <a:ext cx="1984375" cy="375708"/>
          </a:xfrm>
          <a:prstGeom prst="rect">
            <a:avLst/>
          </a:prstGeom>
        </p:spPr>
        <p:txBody>
          <a:bodyPr/>
          <a:lstStyle>
            <a:lvl1pPr>
              <a:defRPr sz="1833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GENDA ITEM 2</a:t>
            </a: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75C2D4FC-EE74-9103-7981-B255194ED56E}"/>
              </a:ext>
            </a:extLst>
          </p:cNvPr>
          <p:cNvSpPr/>
          <p:nvPr userDrawn="1"/>
        </p:nvSpPr>
        <p:spPr>
          <a:xfrm>
            <a:off x="6565343" y="854641"/>
            <a:ext cx="113787" cy="23016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182" name="Text Placeholder 172">
            <a:extLst>
              <a:ext uri="{FF2B5EF4-FFF2-40B4-BE49-F238E27FC236}">
                <a16:creationId xmlns:a16="http://schemas.microsoft.com/office/drawing/2014/main" id="{196BF33C-8B54-73CC-B584-D158305DD5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67684" y="1172967"/>
            <a:ext cx="709083" cy="538428"/>
          </a:xfrm>
          <a:prstGeom prst="rect">
            <a:avLst/>
          </a:prstGeom>
        </p:spPr>
        <p:txBody>
          <a:bodyPr/>
          <a:lstStyle>
            <a:lvl1pPr>
              <a:defRPr sz="3000" b="1"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02.</a:t>
            </a: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642377BB-E92E-F293-5BE3-7864D4DD01E1}"/>
              </a:ext>
            </a:extLst>
          </p:cNvPr>
          <p:cNvSpPr/>
          <p:nvPr userDrawn="1"/>
        </p:nvSpPr>
        <p:spPr>
          <a:xfrm>
            <a:off x="402899" y="854641"/>
            <a:ext cx="5231107" cy="23016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177" name="Text Placeholder 176">
            <a:extLst>
              <a:ext uri="{FF2B5EF4-FFF2-40B4-BE49-F238E27FC236}">
                <a16:creationId xmlns:a16="http://schemas.microsoft.com/office/drawing/2014/main" id="{8543DDA4-8391-7CD5-6FF4-179AFBE2E2C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951389" y="1348650"/>
            <a:ext cx="3294063" cy="613833"/>
          </a:xfrm>
          <a:prstGeom prst="rect">
            <a:avLst/>
          </a:prstGeom>
        </p:spPr>
        <p:txBody>
          <a:bodyPr/>
          <a:lstStyle>
            <a:lvl1pPr algn="l">
              <a:lnSpc>
                <a:spcPts val="2188"/>
              </a:lnSpc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algn="l">
              <a:lnSpc>
                <a:spcPts val="2626"/>
              </a:lnSpc>
            </a:pPr>
            <a:endParaRPr lang="en-US" sz="100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175" name="Text Placeholder 174">
            <a:extLst>
              <a:ext uri="{FF2B5EF4-FFF2-40B4-BE49-F238E27FC236}">
                <a16:creationId xmlns:a16="http://schemas.microsoft.com/office/drawing/2014/main" id="{6D8A3A45-87BC-91A4-25AF-828C7F7C1AD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69459" y="949069"/>
            <a:ext cx="1984375" cy="375708"/>
          </a:xfrm>
          <a:prstGeom prst="rect">
            <a:avLst/>
          </a:prstGeom>
        </p:spPr>
        <p:txBody>
          <a:bodyPr/>
          <a:lstStyle>
            <a:lvl1pPr>
              <a:defRPr sz="1833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GENDA ITEM 1</a:t>
            </a: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0393C9D4-CFC9-D1E8-CD3B-DB534711C6AD}"/>
              </a:ext>
            </a:extLst>
          </p:cNvPr>
          <p:cNvSpPr/>
          <p:nvPr userDrawn="1"/>
        </p:nvSpPr>
        <p:spPr>
          <a:xfrm>
            <a:off x="402900" y="854641"/>
            <a:ext cx="113787" cy="230167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173" name="Text Placeholder 172">
            <a:extLst>
              <a:ext uri="{FF2B5EF4-FFF2-40B4-BE49-F238E27FC236}">
                <a16:creationId xmlns:a16="http://schemas.microsoft.com/office/drawing/2014/main" id="{9EAB7913-617B-E677-15C7-CD0289FE2CF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05241" y="1172967"/>
            <a:ext cx="709083" cy="538428"/>
          </a:xfrm>
          <a:prstGeom prst="rect">
            <a:avLst/>
          </a:prstGeom>
        </p:spPr>
        <p:txBody>
          <a:bodyPr/>
          <a:lstStyle>
            <a:lvl1pPr>
              <a:defRPr sz="3000" b="1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01.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5E417E3-FFC3-F5C9-927B-1CD9FDAFDB33}"/>
              </a:ext>
            </a:extLst>
          </p:cNvPr>
          <p:cNvSpPr/>
          <p:nvPr userDrawn="1"/>
        </p:nvSpPr>
        <p:spPr>
          <a:xfrm>
            <a:off x="6565342" y="3474643"/>
            <a:ext cx="5231107" cy="23016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3" name="Text Placeholder 176">
            <a:extLst>
              <a:ext uri="{FF2B5EF4-FFF2-40B4-BE49-F238E27FC236}">
                <a16:creationId xmlns:a16="http://schemas.microsoft.com/office/drawing/2014/main" id="{246D3A7E-9D7D-F9B1-AE4C-EE9A0B0523F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13832" y="3968652"/>
            <a:ext cx="3294063" cy="613833"/>
          </a:xfrm>
          <a:prstGeom prst="rect">
            <a:avLst/>
          </a:prstGeom>
        </p:spPr>
        <p:txBody>
          <a:bodyPr/>
          <a:lstStyle>
            <a:lvl1pPr algn="l">
              <a:lnSpc>
                <a:spcPts val="2188"/>
              </a:lnSpc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algn="l">
              <a:lnSpc>
                <a:spcPts val="2626"/>
              </a:lnSpc>
            </a:pPr>
            <a:endParaRPr lang="en-US" sz="100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4" name="Text Placeholder 174">
            <a:extLst>
              <a:ext uri="{FF2B5EF4-FFF2-40B4-BE49-F238E27FC236}">
                <a16:creationId xmlns:a16="http://schemas.microsoft.com/office/drawing/2014/main" id="{0F5038DB-F644-F3BC-78E0-5740B56598F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31903" y="3569070"/>
            <a:ext cx="1984375" cy="375708"/>
          </a:xfrm>
          <a:prstGeom prst="rect">
            <a:avLst/>
          </a:prstGeom>
        </p:spPr>
        <p:txBody>
          <a:bodyPr/>
          <a:lstStyle>
            <a:lvl1pPr>
              <a:defRPr sz="1833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GENDA ITEM 4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7758190-69E4-41BB-C94E-BC27747F8E91}"/>
              </a:ext>
            </a:extLst>
          </p:cNvPr>
          <p:cNvSpPr/>
          <p:nvPr userDrawn="1"/>
        </p:nvSpPr>
        <p:spPr>
          <a:xfrm>
            <a:off x="6565343" y="3474643"/>
            <a:ext cx="113787" cy="230167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6" name="Text Placeholder 172">
            <a:extLst>
              <a:ext uri="{FF2B5EF4-FFF2-40B4-BE49-F238E27FC236}">
                <a16:creationId xmlns:a16="http://schemas.microsoft.com/office/drawing/2014/main" id="{58D76AE3-C2CF-7726-896D-4D402A3405F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67684" y="3792969"/>
            <a:ext cx="709083" cy="538428"/>
          </a:xfrm>
          <a:prstGeom prst="rect">
            <a:avLst/>
          </a:prstGeom>
        </p:spPr>
        <p:txBody>
          <a:bodyPr/>
          <a:lstStyle>
            <a:lvl1pPr>
              <a:defRPr sz="3000" b="1">
                <a:solidFill>
                  <a:schemeClr val="accent4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04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43FEFB6-079F-FBF4-239D-6764A861A0E9}"/>
              </a:ext>
            </a:extLst>
          </p:cNvPr>
          <p:cNvSpPr/>
          <p:nvPr userDrawn="1"/>
        </p:nvSpPr>
        <p:spPr>
          <a:xfrm>
            <a:off x="402899" y="3474643"/>
            <a:ext cx="5231107" cy="23016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8" name="Text Placeholder 176">
            <a:extLst>
              <a:ext uri="{FF2B5EF4-FFF2-40B4-BE49-F238E27FC236}">
                <a16:creationId xmlns:a16="http://schemas.microsoft.com/office/drawing/2014/main" id="{74AE2306-3058-D85C-69FD-9A042600B25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951389" y="3968652"/>
            <a:ext cx="3294063" cy="613833"/>
          </a:xfrm>
          <a:prstGeom prst="rect">
            <a:avLst/>
          </a:prstGeom>
        </p:spPr>
        <p:txBody>
          <a:bodyPr/>
          <a:lstStyle>
            <a:lvl1pPr algn="l">
              <a:lnSpc>
                <a:spcPts val="2188"/>
              </a:lnSpc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algn="l">
              <a:lnSpc>
                <a:spcPts val="2626"/>
              </a:lnSpc>
            </a:pPr>
            <a:endParaRPr lang="en-US" sz="100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9" name="Text Placeholder 174">
            <a:extLst>
              <a:ext uri="{FF2B5EF4-FFF2-40B4-BE49-F238E27FC236}">
                <a16:creationId xmlns:a16="http://schemas.microsoft.com/office/drawing/2014/main" id="{57EC08E1-6145-671F-8C03-E9A9846506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69459" y="3569070"/>
            <a:ext cx="1984375" cy="375708"/>
          </a:xfrm>
          <a:prstGeom prst="rect">
            <a:avLst/>
          </a:prstGeom>
        </p:spPr>
        <p:txBody>
          <a:bodyPr/>
          <a:lstStyle>
            <a:lvl1pPr>
              <a:defRPr sz="1833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GENDA ITEM 3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4083409-B2E9-B59F-97CC-6A375C3A79FB}"/>
              </a:ext>
            </a:extLst>
          </p:cNvPr>
          <p:cNvSpPr/>
          <p:nvPr userDrawn="1"/>
        </p:nvSpPr>
        <p:spPr>
          <a:xfrm>
            <a:off x="402900" y="3474643"/>
            <a:ext cx="113787" cy="23016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11" name="Text Placeholder 172">
            <a:extLst>
              <a:ext uri="{FF2B5EF4-FFF2-40B4-BE49-F238E27FC236}">
                <a16:creationId xmlns:a16="http://schemas.microsoft.com/office/drawing/2014/main" id="{623C8BAF-D913-B564-4E5C-3AFF97CF358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5241" y="3792969"/>
            <a:ext cx="709083" cy="538428"/>
          </a:xfrm>
          <a:prstGeom prst="rect">
            <a:avLst/>
          </a:prstGeom>
        </p:spPr>
        <p:txBody>
          <a:bodyPr/>
          <a:lstStyle>
            <a:lvl1pPr>
              <a:defRPr sz="3000" b="1">
                <a:solidFill>
                  <a:schemeClr val="accent3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03.</a:t>
            </a:r>
          </a:p>
        </p:txBody>
      </p:sp>
    </p:spTree>
    <p:extLst>
      <p:ext uri="{BB962C8B-B14F-4D97-AF65-F5344CB8AC3E}">
        <p14:creationId xmlns:p14="http://schemas.microsoft.com/office/powerpoint/2010/main" val="29702807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 Slide-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>
            <a:extLst>
              <a:ext uri="{FF2B5EF4-FFF2-40B4-BE49-F238E27FC236}">
                <a16:creationId xmlns:a16="http://schemas.microsoft.com/office/drawing/2014/main" id="{FE1ABC8E-BB98-C919-E6BC-AA7B39186957}"/>
              </a:ext>
            </a:extLst>
          </p:cNvPr>
          <p:cNvSpPr/>
          <p:nvPr userDrawn="1"/>
        </p:nvSpPr>
        <p:spPr>
          <a:xfrm>
            <a:off x="-1" y="-1"/>
            <a:ext cx="12192000" cy="6858000"/>
          </a:xfrm>
          <a:custGeom>
            <a:avLst/>
            <a:gdLst>
              <a:gd name="connsiteX0" fmla="*/ 245165 w 12192000"/>
              <a:gd name="connsiteY0" fmla="*/ 242472 h 6858000"/>
              <a:gd name="connsiteX1" fmla="*/ 245165 w 12192000"/>
              <a:gd name="connsiteY1" fmla="*/ 6615528 h 6858000"/>
              <a:gd name="connsiteX2" fmla="*/ 11470341 w 12192000"/>
              <a:gd name="connsiteY2" fmla="*/ 6615528 h 6858000"/>
              <a:gd name="connsiteX3" fmla="*/ 11470341 w 12192000"/>
              <a:gd name="connsiteY3" fmla="*/ 6212541 h 6858000"/>
              <a:gd name="connsiteX4" fmla="*/ 11936921 w 12192000"/>
              <a:gd name="connsiteY4" fmla="*/ 6212541 h 6858000"/>
              <a:gd name="connsiteX5" fmla="*/ 11936921 w 12192000"/>
              <a:gd name="connsiteY5" fmla="*/ 242472 h 6858000"/>
              <a:gd name="connsiteX6" fmla="*/ 0 w 12192000"/>
              <a:gd name="connsiteY6" fmla="*/ 0 h 6858000"/>
              <a:gd name="connsiteX7" fmla="*/ 12192000 w 12192000"/>
              <a:gd name="connsiteY7" fmla="*/ 0 h 6858000"/>
              <a:gd name="connsiteX8" fmla="*/ 12192000 w 12192000"/>
              <a:gd name="connsiteY8" fmla="*/ 6212541 h 6858000"/>
              <a:gd name="connsiteX9" fmla="*/ 12192000 w 12192000"/>
              <a:gd name="connsiteY9" fmla="*/ 6858000 h 6858000"/>
              <a:gd name="connsiteX10" fmla="*/ 11470341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245165" y="242472"/>
                </a:moveTo>
                <a:lnTo>
                  <a:pt x="245165" y="6615528"/>
                </a:lnTo>
                <a:lnTo>
                  <a:pt x="11470341" y="6615528"/>
                </a:lnTo>
                <a:lnTo>
                  <a:pt x="11470341" y="6212541"/>
                </a:lnTo>
                <a:lnTo>
                  <a:pt x="11936921" y="6212541"/>
                </a:lnTo>
                <a:lnTo>
                  <a:pt x="11936921" y="24247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212541"/>
                </a:lnTo>
                <a:lnTo>
                  <a:pt x="12192000" y="6858000"/>
                </a:lnTo>
                <a:lnTo>
                  <a:pt x="1147034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97317161-2CD7-7DFA-011F-A55C360C705F}"/>
              </a:ext>
            </a:extLst>
          </p:cNvPr>
          <p:cNvSpPr/>
          <p:nvPr userDrawn="1"/>
        </p:nvSpPr>
        <p:spPr>
          <a:xfrm>
            <a:off x="8917401" y="2940388"/>
            <a:ext cx="3019519" cy="3674852"/>
          </a:xfrm>
          <a:custGeom>
            <a:avLst/>
            <a:gdLst>
              <a:gd name="connsiteX0" fmla="*/ 676211 w 790892"/>
              <a:gd name="connsiteY0" fmla="*/ 962478 h 962541"/>
              <a:gd name="connsiteX1" fmla="*/ 24892 w 790892"/>
              <a:gd name="connsiteY1" fmla="*/ 962478 h 962541"/>
              <a:gd name="connsiteX2" fmla="*/ 444 w 790892"/>
              <a:gd name="connsiteY2" fmla="*/ 938030 h 962541"/>
              <a:gd name="connsiteX3" fmla="*/ 127 w 790892"/>
              <a:gd name="connsiteY3" fmla="*/ 366593 h 962541"/>
              <a:gd name="connsiteX4" fmla="*/ 0 w 790892"/>
              <a:gd name="connsiteY4" fmla="*/ 304744 h 962541"/>
              <a:gd name="connsiteX5" fmla="*/ 0 w 790892"/>
              <a:gd name="connsiteY5" fmla="*/ 262390 h 962541"/>
              <a:gd name="connsiteX6" fmla="*/ 11620 w 790892"/>
              <a:gd name="connsiteY6" fmla="*/ 242261 h 962541"/>
              <a:gd name="connsiteX7" fmla="*/ 388556 w 790892"/>
              <a:gd name="connsiteY7" fmla="*/ 2421 h 962541"/>
              <a:gd name="connsiteX8" fmla="*/ 405447 w 790892"/>
              <a:gd name="connsiteY8" fmla="*/ 2485 h 962541"/>
              <a:gd name="connsiteX9" fmla="*/ 779780 w 790892"/>
              <a:gd name="connsiteY9" fmla="*/ 242578 h 962541"/>
              <a:gd name="connsiteX10" fmla="*/ 790766 w 790892"/>
              <a:gd name="connsiteY10" fmla="*/ 261311 h 962541"/>
              <a:gd name="connsiteX11" fmla="*/ 790766 w 790892"/>
              <a:gd name="connsiteY11" fmla="*/ 295092 h 962541"/>
              <a:gd name="connsiteX12" fmla="*/ 790892 w 790892"/>
              <a:gd name="connsiteY12" fmla="*/ 364435 h 962541"/>
              <a:gd name="connsiteX13" fmla="*/ 790892 w 790892"/>
              <a:gd name="connsiteY13" fmla="*/ 938157 h 962541"/>
              <a:gd name="connsiteX14" fmla="*/ 766508 w 790892"/>
              <a:gd name="connsiteY14" fmla="*/ 962541 h 962541"/>
              <a:gd name="connsiteX15" fmla="*/ 676211 w 790892"/>
              <a:gd name="connsiteY15" fmla="*/ 962541 h 96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90892" h="962541">
                <a:moveTo>
                  <a:pt x="676211" y="962478"/>
                </a:moveTo>
                <a:lnTo>
                  <a:pt x="24892" y="962478"/>
                </a:lnTo>
                <a:cubicBezTo>
                  <a:pt x="11493" y="962478"/>
                  <a:pt x="444" y="951429"/>
                  <a:pt x="444" y="938030"/>
                </a:cubicBezTo>
                <a:cubicBezTo>
                  <a:pt x="127" y="673806"/>
                  <a:pt x="127" y="624277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8"/>
                  <a:pt x="4699" y="246642"/>
                  <a:pt x="11620" y="242261"/>
                </a:cubicBezTo>
                <a:cubicBezTo>
                  <a:pt x="64262" y="208732"/>
                  <a:pt x="288036" y="66048"/>
                  <a:pt x="388556" y="2421"/>
                </a:cubicBezTo>
                <a:cubicBezTo>
                  <a:pt x="393700" y="-818"/>
                  <a:pt x="400303" y="-818"/>
                  <a:pt x="405447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2"/>
                </a:lnTo>
                <a:cubicBezTo>
                  <a:pt x="790766" y="295092"/>
                  <a:pt x="790892" y="364435"/>
                  <a:pt x="790892" y="364435"/>
                </a:cubicBezTo>
                <a:lnTo>
                  <a:pt x="790892" y="938157"/>
                </a:lnTo>
                <a:cubicBezTo>
                  <a:pt x="790892" y="951619"/>
                  <a:pt x="779970" y="962541"/>
                  <a:pt x="766508" y="962541"/>
                </a:cubicBezTo>
                <a:lnTo>
                  <a:pt x="676211" y="962541"/>
                </a:lnTo>
                <a:close/>
              </a:path>
            </a:pathLst>
          </a:custGeom>
          <a:solidFill>
            <a:schemeClr val="accent2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B69031D-7D53-4A65-BB56-533F4995BC8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897995" y="1581309"/>
            <a:ext cx="1984906" cy="50681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108A9F2-83BF-6256-A4A9-DD003AC98DF9}"/>
              </a:ext>
            </a:extLst>
          </p:cNvPr>
          <p:cNvSpPr txBox="1"/>
          <p:nvPr userDrawn="1"/>
        </p:nvSpPr>
        <p:spPr>
          <a:xfrm>
            <a:off x="897993" y="2632637"/>
            <a:ext cx="5943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i="0">
                <a:solidFill>
                  <a:schemeClr val="bg1"/>
                </a:solidFill>
                <a:latin typeface="Helvetica" pitchFamily="2" charset="0"/>
                <a:ea typeface="Bagoss Condensed SemiBold" panose="020B0806060102020204" pitchFamily="34" charset="77"/>
                <a:cs typeface="Bagoss Condensed SemiBold" panose="020B0806060102020204" pitchFamily="34" charset="77"/>
              </a:rPr>
              <a:t>The voice of the home building industry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7C14A7A-2F44-BDF7-B5B4-111E150CB493}"/>
              </a:ext>
            </a:extLst>
          </p:cNvPr>
          <p:cNvSpPr txBox="1"/>
          <p:nvPr userDrawn="1"/>
        </p:nvSpPr>
        <p:spPr>
          <a:xfrm>
            <a:off x="897993" y="4422214"/>
            <a:ext cx="5943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0" i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ww.hbf.co.uk</a:t>
            </a:r>
            <a:r>
              <a:rPr lang="en-GB" sz="2000" b="0" i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| 0207 960 1600 | @</a:t>
            </a:r>
            <a:r>
              <a:rPr lang="en-GB" sz="2000" b="0" i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omebuildersfed</a:t>
            </a:r>
            <a:endParaRPr lang="en-GB" sz="2000" b="0" i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047008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_alt layout_8 it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Text Placeholder 49">
            <a:extLst>
              <a:ext uri="{FF2B5EF4-FFF2-40B4-BE49-F238E27FC236}">
                <a16:creationId xmlns:a16="http://schemas.microsoft.com/office/drawing/2014/main" id="{9B035484-893D-850A-55FF-41F56F47492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504757" y="5019340"/>
            <a:ext cx="2213239" cy="601927"/>
          </a:xfrm>
          <a:prstGeom prst="rect">
            <a:avLst/>
          </a:prstGeom>
        </p:spPr>
        <p:txBody>
          <a:bodyPr/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endParaRPr lang="en-GB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117326F2-E139-E526-6A58-DB0019FA9944}"/>
              </a:ext>
            </a:extLst>
          </p:cNvPr>
          <p:cNvSpPr/>
          <p:nvPr userDrawn="1"/>
        </p:nvSpPr>
        <p:spPr>
          <a:xfrm>
            <a:off x="9430675" y="4352673"/>
            <a:ext cx="2363047" cy="54617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7">
              <a:solidFill>
                <a:schemeClr val="accent4"/>
              </a:solidFill>
            </a:endParaRP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C9329405-AFED-062B-DBDC-BE499E5BE27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504757" y="4473829"/>
            <a:ext cx="769938" cy="341313"/>
          </a:xfrm>
          <a:prstGeom prst="rect">
            <a:avLst/>
          </a:prstGeom>
        </p:spPr>
        <p:txBody>
          <a:bodyPr/>
          <a:lstStyle>
            <a:lvl1pPr>
              <a:defRPr sz="1667"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GB"/>
              <a:t>Item 8</a:t>
            </a:r>
          </a:p>
        </p:txBody>
      </p:sp>
      <p:sp>
        <p:nvSpPr>
          <p:cNvPr id="66" name="Text Placeholder 39">
            <a:extLst>
              <a:ext uri="{FF2B5EF4-FFF2-40B4-BE49-F238E27FC236}">
                <a16:creationId xmlns:a16="http://schemas.microsoft.com/office/drawing/2014/main" id="{F0308FB4-3F81-9F73-6F9B-C32FEB39E3C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0673" y="3692454"/>
            <a:ext cx="554302" cy="943240"/>
          </a:xfrm>
          <a:prstGeom prst="rect">
            <a:avLst/>
          </a:prstGeom>
        </p:spPr>
        <p:txBody>
          <a:bodyPr/>
          <a:lstStyle>
            <a:lvl1pPr>
              <a:defRPr sz="5666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8</a:t>
            </a:r>
          </a:p>
        </p:txBody>
      </p:sp>
      <p:sp>
        <p:nvSpPr>
          <p:cNvPr id="67" name="Text Placeholder 49">
            <a:extLst>
              <a:ext uri="{FF2B5EF4-FFF2-40B4-BE49-F238E27FC236}">
                <a16:creationId xmlns:a16="http://schemas.microsoft.com/office/drawing/2014/main" id="{9E95C284-CFA4-E334-6C95-B1B7EE032F4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495690" y="5019340"/>
            <a:ext cx="2213239" cy="601927"/>
          </a:xfrm>
          <a:prstGeom prst="rect">
            <a:avLst/>
          </a:prstGeom>
        </p:spPr>
        <p:txBody>
          <a:bodyPr/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endParaRPr lang="en-GB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23640177-9CA4-F395-2DFC-AF6ED57C85CD}"/>
              </a:ext>
            </a:extLst>
          </p:cNvPr>
          <p:cNvSpPr/>
          <p:nvPr userDrawn="1"/>
        </p:nvSpPr>
        <p:spPr>
          <a:xfrm>
            <a:off x="6421607" y="4352673"/>
            <a:ext cx="2363047" cy="54617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7"/>
          </a:p>
        </p:txBody>
      </p:sp>
      <p:sp>
        <p:nvSpPr>
          <p:cNvPr id="69" name="Text Placeholder 43">
            <a:extLst>
              <a:ext uri="{FF2B5EF4-FFF2-40B4-BE49-F238E27FC236}">
                <a16:creationId xmlns:a16="http://schemas.microsoft.com/office/drawing/2014/main" id="{3CCF611E-8B5B-1EAF-AE5F-5EC1D95AC2D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95689" y="4473829"/>
            <a:ext cx="769938" cy="341313"/>
          </a:xfrm>
          <a:prstGeom prst="rect">
            <a:avLst/>
          </a:prstGeom>
        </p:spPr>
        <p:txBody>
          <a:bodyPr/>
          <a:lstStyle>
            <a:lvl1pPr>
              <a:defRPr sz="1667"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GB"/>
              <a:t>Item 7</a:t>
            </a:r>
          </a:p>
        </p:txBody>
      </p:sp>
      <p:sp>
        <p:nvSpPr>
          <p:cNvPr id="70" name="Text Placeholder 39">
            <a:extLst>
              <a:ext uri="{FF2B5EF4-FFF2-40B4-BE49-F238E27FC236}">
                <a16:creationId xmlns:a16="http://schemas.microsoft.com/office/drawing/2014/main" id="{ED1C95A0-C4D6-2CD5-E37A-E857C06EDEF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421606" y="3692454"/>
            <a:ext cx="554302" cy="943240"/>
          </a:xfrm>
          <a:prstGeom prst="rect">
            <a:avLst/>
          </a:prstGeom>
        </p:spPr>
        <p:txBody>
          <a:bodyPr/>
          <a:lstStyle>
            <a:lvl1pPr>
              <a:defRPr sz="5666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/>
              <a:t>7</a:t>
            </a:r>
          </a:p>
        </p:txBody>
      </p:sp>
      <p:sp>
        <p:nvSpPr>
          <p:cNvPr id="71" name="Text Placeholder 49">
            <a:extLst>
              <a:ext uri="{FF2B5EF4-FFF2-40B4-BE49-F238E27FC236}">
                <a16:creationId xmlns:a16="http://schemas.microsoft.com/office/drawing/2014/main" id="{EE7B42D5-0EDF-BC9A-D687-24E89FF27B9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81345" y="5019340"/>
            <a:ext cx="2213239" cy="601927"/>
          </a:xfrm>
          <a:prstGeom prst="rect">
            <a:avLst/>
          </a:prstGeom>
        </p:spPr>
        <p:txBody>
          <a:bodyPr/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endParaRPr lang="en-GB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30B4D6CD-76F0-53A7-D7A3-092ACE9A86CC}"/>
              </a:ext>
            </a:extLst>
          </p:cNvPr>
          <p:cNvSpPr/>
          <p:nvPr userDrawn="1"/>
        </p:nvSpPr>
        <p:spPr>
          <a:xfrm>
            <a:off x="3407262" y="4352673"/>
            <a:ext cx="2363047" cy="54617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7"/>
          </a:p>
        </p:txBody>
      </p:sp>
      <p:sp>
        <p:nvSpPr>
          <p:cNvPr id="73" name="Text Placeholder 43">
            <a:extLst>
              <a:ext uri="{FF2B5EF4-FFF2-40B4-BE49-F238E27FC236}">
                <a16:creationId xmlns:a16="http://schemas.microsoft.com/office/drawing/2014/main" id="{3C9127AE-4C67-3F2B-80FE-9AB70A1CFA8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81344" y="4473829"/>
            <a:ext cx="769938" cy="341313"/>
          </a:xfrm>
          <a:prstGeom prst="rect">
            <a:avLst/>
          </a:prstGeom>
        </p:spPr>
        <p:txBody>
          <a:bodyPr/>
          <a:lstStyle>
            <a:lvl1pPr>
              <a:defRPr sz="1667"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GB"/>
              <a:t>Item 6</a:t>
            </a:r>
          </a:p>
        </p:txBody>
      </p:sp>
      <p:sp>
        <p:nvSpPr>
          <p:cNvPr id="74" name="Text Placeholder 39">
            <a:extLst>
              <a:ext uri="{FF2B5EF4-FFF2-40B4-BE49-F238E27FC236}">
                <a16:creationId xmlns:a16="http://schemas.microsoft.com/office/drawing/2014/main" id="{AF8F7312-EBEC-940C-6F30-B2887D3B760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07261" y="3692454"/>
            <a:ext cx="554302" cy="943240"/>
          </a:xfrm>
          <a:prstGeom prst="rect">
            <a:avLst/>
          </a:prstGeom>
        </p:spPr>
        <p:txBody>
          <a:bodyPr/>
          <a:lstStyle>
            <a:lvl1pPr>
              <a:defRPr sz="5666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6</a:t>
            </a:r>
          </a:p>
        </p:txBody>
      </p:sp>
      <p:sp>
        <p:nvSpPr>
          <p:cNvPr id="75" name="Text Placeholder 49">
            <a:extLst>
              <a:ext uri="{FF2B5EF4-FFF2-40B4-BE49-F238E27FC236}">
                <a16:creationId xmlns:a16="http://schemas.microsoft.com/office/drawing/2014/main" id="{966EB920-690C-0D5B-DD37-1B11E17DC4C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69636" y="5019340"/>
            <a:ext cx="2213239" cy="601927"/>
          </a:xfrm>
          <a:prstGeom prst="rect">
            <a:avLst/>
          </a:prstGeom>
        </p:spPr>
        <p:txBody>
          <a:bodyPr/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endParaRPr lang="en-GB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AAE90662-A05F-C3D6-CAEF-1442609229E1}"/>
              </a:ext>
            </a:extLst>
          </p:cNvPr>
          <p:cNvSpPr/>
          <p:nvPr userDrawn="1"/>
        </p:nvSpPr>
        <p:spPr>
          <a:xfrm>
            <a:off x="395554" y="4352673"/>
            <a:ext cx="2363047" cy="54617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7"/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582973B2-EE69-6AB5-15AE-AE56109C134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69636" y="4473829"/>
            <a:ext cx="769938" cy="341313"/>
          </a:xfrm>
          <a:prstGeom prst="rect">
            <a:avLst/>
          </a:prstGeom>
        </p:spPr>
        <p:txBody>
          <a:bodyPr/>
          <a:lstStyle>
            <a:lvl1pPr>
              <a:defRPr sz="1667"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GB"/>
              <a:t>Item 5</a:t>
            </a:r>
          </a:p>
        </p:txBody>
      </p:sp>
      <p:sp>
        <p:nvSpPr>
          <p:cNvPr id="78" name="Text Placeholder 39">
            <a:extLst>
              <a:ext uri="{FF2B5EF4-FFF2-40B4-BE49-F238E27FC236}">
                <a16:creationId xmlns:a16="http://schemas.microsoft.com/office/drawing/2014/main" id="{5DA81949-1855-765C-0488-5C8EC869071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95552" y="3692454"/>
            <a:ext cx="554302" cy="943240"/>
          </a:xfrm>
          <a:prstGeom prst="rect">
            <a:avLst/>
          </a:prstGeom>
        </p:spPr>
        <p:txBody>
          <a:bodyPr/>
          <a:lstStyle>
            <a:lvl1pPr>
              <a:defRPr sz="5666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5</a:t>
            </a:r>
          </a:p>
        </p:txBody>
      </p:sp>
      <p:sp>
        <p:nvSpPr>
          <p:cNvPr id="59" name="Text Placeholder 49">
            <a:extLst>
              <a:ext uri="{FF2B5EF4-FFF2-40B4-BE49-F238E27FC236}">
                <a16:creationId xmlns:a16="http://schemas.microsoft.com/office/drawing/2014/main" id="{CFCBE24F-90D9-0D4F-A029-478A500670D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504757" y="2533386"/>
            <a:ext cx="2213239" cy="601927"/>
          </a:xfrm>
          <a:prstGeom prst="rect">
            <a:avLst/>
          </a:prstGeom>
        </p:spPr>
        <p:txBody>
          <a:bodyPr/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endParaRPr lang="en-GB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0739A225-04DC-7A1B-82E6-46D7719CBFEA}"/>
              </a:ext>
            </a:extLst>
          </p:cNvPr>
          <p:cNvSpPr/>
          <p:nvPr userDrawn="1"/>
        </p:nvSpPr>
        <p:spPr>
          <a:xfrm>
            <a:off x="9430675" y="1866718"/>
            <a:ext cx="2363047" cy="54617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7">
              <a:solidFill>
                <a:schemeClr val="accent4"/>
              </a:solidFill>
            </a:endParaRP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9165D770-4E36-A544-2246-35064FED425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504757" y="1987874"/>
            <a:ext cx="769938" cy="341313"/>
          </a:xfrm>
          <a:prstGeom prst="rect">
            <a:avLst/>
          </a:prstGeom>
        </p:spPr>
        <p:txBody>
          <a:bodyPr/>
          <a:lstStyle>
            <a:lvl1pPr>
              <a:defRPr sz="1667"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GB"/>
              <a:t>Item 4</a:t>
            </a:r>
          </a:p>
        </p:txBody>
      </p:sp>
      <p:sp>
        <p:nvSpPr>
          <p:cNvPr id="62" name="Text Placeholder 39">
            <a:extLst>
              <a:ext uri="{FF2B5EF4-FFF2-40B4-BE49-F238E27FC236}">
                <a16:creationId xmlns:a16="http://schemas.microsoft.com/office/drawing/2014/main" id="{B50D054B-155C-50CA-F881-4936A81197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30673" y="1206500"/>
            <a:ext cx="554302" cy="943240"/>
          </a:xfrm>
          <a:prstGeom prst="rect">
            <a:avLst/>
          </a:prstGeom>
        </p:spPr>
        <p:txBody>
          <a:bodyPr/>
          <a:lstStyle>
            <a:lvl1pPr>
              <a:defRPr sz="5666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4</a:t>
            </a:r>
          </a:p>
        </p:txBody>
      </p:sp>
      <p:sp>
        <p:nvSpPr>
          <p:cNvPr id="55" name="Text Placeholder 49">
            <a:extLst>
              <a:ext uri="{FF2B5EF4-FFF2-40B4-BE49-F238E27FC236}">
                <a16:creationId xmlns:a16="http://schemas.microsoft.com/office/drawing/2014/main" id="{400DEC33-AE3E-7590-D14F-06DDA78ADC2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495690" y="2533386"/>
            <a:ext cx="2213239" cy="601927"/>
          </a:xfrm>
          <a:prstGeom prst="rect">
            <a:avLst/>
          </a:prstGeom>
        </p:spPr>
        <p:txBody>
          <a:bodyPr/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endParaRPr lang="en-GB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9034C450-96C5-810C-9D86-D8D92816A2DB}"/>
              </a:ext>
            </a:extLst>
          </p:cNvPr>
          <p:cNvSpPr/>
          <p:nvPr userDrawn="1"/>
        </p:nvSpPr>
        <p:spPr>
          <a:xfrm>
            <a:off x="6421607" y="1866718"/>
            <a:ext cx="2363047" cy="54617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7"/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98CD0CC5-83A0-C262-7156-27059BD91C2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95689" y="1987874"/>
            <a:ext cx="769938" cy="341313"/>
          </a:xfrm>
          <a:prstGeom prst="rect">
            <a:avLst/>
          </a:prstGeom>
        </p:spPr>
        <p:txBody>
          <a:bodyPr/>
          <a:lstStyle>
            <a:lvl1pPr>
              <a:defRPr sz="1667"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GB"/>
              <a:t>Item 3</a:t>
            </a:r>
          </a:p>
        </p:txBody>
      </p:sp>
      <p:sp>
        <p:nvSpPr>
          <p:cNvPr id="58" name="Text Placeholder 39">
            <a:extLst>
              <a:ext uri="{FF2B5EF4-FFF2-40B4-BE49-F238E27FC236}">
                <a16:creationId xmlns:a16="http://schemas.microsoft.com/office/drawing/2014/main" id="{45CA200E-C0E9-08CA-E336-57BB91E3CCD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21606" y="1206500"/>
            <a:ext cx="554302" cy="943240"/>
          </a:xfrm>
          <a:prstGeom prst="rect">
            <a:avLst/>
          </a:prstGeom>
        </p:spPr>
        <p:txBody>
          <a:bodyPr/>
          <a:lstStyle>
            <a:lvl1pPr>
              <a:defRPr sz="5666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/>
              <a:t>3</a:t>
            </a:r>
          </a:p>
        </p:txBody>
      </p:sp>
      <p:sp>
        <p:nvSpPr>
          <p:cNvPr id="51" name="Text Placeholder 49">
            <a:extLst>
              <a:ext uri="{FF2B5EF4-FFF2-40B4-BE49-F238E27FC236}">
                <a16:creationId xmlns:a16="http://schemas.microsoft.com/office/drawing/2014/main" id="{D3B73516-0D70-29C9-E3A0-F89CD6D45C1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81345" y="2533386"/>
            <a:ext cx="2213239" cy="601927"/>
          </a:xfrm>
          <a:prstGeom prst="rect">
            <a:avLst/>
          </a:prstGeom>
        </p:spPr>
        <p:txBody>
          <a:bodyPr/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endParaRPr lang="en-GB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90B8EB7-5CB6-2105-F5BE-686A3E990F8A}"/>
              </a:ext>
            </a:extLst>
          </p:cNvPr>
          <p:cNvSpPr/>
          <p:nvPr userDrawn="1"/>
        </p:nvSpPr>
        <p:spPr>
          <a:xfrm>
            <a:off x="3407262" y="1866718"/>
            <a:ext cx="2363047" cy="5461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7"/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7EC5C27E-5084-FB8D-9BD8-696EB288CC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81344" y="1987874"/>
            <a:ext cx="769938" cy="341313"/>
          </a:xfrm>
          <a:prstGeom prst="rect">
            <a:avLst/>
          </a:prstGeom>
        </p:spPr>
        <p:txBody>
          <a:bodyPr/>
          <a:lstStyle>
            <a:lvl1pPr>
              <a:defRPr sz="1667"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GB"/>
              <a:t>Item 2</a:t>
            </a:r>
          </a:p>
        </p:txBody>
      </p:sp>
      <p:sp>
        <p:nvSpPr>
          <p:cNvPr id="54" name="Text Placeholder 39">
            <a:extLst>
              <a:ext uri="{FF2B5EF4-FFF2-40B4-BE49-F238E27FC236}">
                <a16:creationId xmlns:a16="http://schemas.microsoft.com/office/drawing/2014/main" id="{711F1662-5A23-1A12-F7C2-2EF62A04EC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07261" y="1206500"/>
            <a:ext cx="554302" cy="943240"/>
          </a:xfrm>
          <a:prstGeom prst="rect">
            <a:avLst/>
          </a:prstGeom>
        </p:spPr>
        <p:txBody>
          <a:bodyPr/>
          <a:lstStyle>
            <a:lvl1pPr>
              <a:defRPr sz="5666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2</a:t>
            </a:r>
          </a:p>
        </p:txBody>
      </p:sp>
      <p:sp>
        <p:nvSpPr>
          <p:cNvPr id="50" name="Text Placeholder 49">
            <a:extLst>
              <a:ext uri="{FF2B5EF4-FFF2-40B4-BE49-F238E27FC236}">
                <a16:creationId xmlns:a16="http://schemas.microsoft.com/office/drawing/2014/main" id="{7FAEABA8-A883-5F4D-57D6-A2E17C10EF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9636" y="2533386"/>
            <a:ext cx="2213239" cy="601927"/>
          </a:xfrm>
          <a:prstGeom prst="rect">
            <a:avLst/>
          </a:prstGeom>
        </p:spPr>
        <p:txBody>
          <a:bodyPr/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endParaRPr lang="en-GB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7DDEFBC-289B-C50D-0E84-6AC084DE26D5}"/>
              </a:ext>
            </a:extLst>
          </p:cNvPr>
          <p:cNvSpPr/>
          <p:nvPr userDrawn="1"/>
        </p:nvSpPr>
        <p:spPr>
          <a:xfrm>
            <a:off x="395554" y="1866718"/>
            <a:ext cx="2363047" cy="54617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7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85121DCC-2391-F9E1-AEBF-65AEBB008C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9636" y="1987874"/>
            <a:ext cx="769938" cy="341313"/>
          </a:xfrm>
          <a:prstGeom prst="rect">
            <a:avLst/>
          </a:prstGeom>
        </p:spPr>
        <p:txBody>
          <a:bodyPr/>
          <a:lstStyle>
            <a:lvl1pPr>
              <a:defRPr sz="1667"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GB"/>
              <a:t>Item 1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C99A8937-0B11-E127-D119-20AB7E82B1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5552" y="1206500"/>
            <a:ext cx="554302" cy="943240"/>
          </a:xfrm>
          <a:prstGeom prst="rect">
            <a:avLst/>
          </a:prstGeom>
        </p:spPr>
        <p:txBody>
          <a:bodyPr/>
          <a:lstStyle>
            <a:lvl1pPr>
              <a:defRPr sz="566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1</a:t>
            </a:r>
          </a:p>
        </p:txBody>
      </p:sp>
      <p:sp>
        <p:nvSpPr>
          <p:cNvPr id="38" name="Title 34">
            <a:extLst>
              <a:ext uri="{FF2B5EF4-FFF2-40B4-BE49-F238E27FC236}">
                <a16:creationId xmlns:a16="http://schemas.microsoft.com/office/drawing/2014/main" id="{57FC7CAA-C419-79A0-6AF8-45F2C8DBD9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53" y="399899"/>
            <a:ext cx="11400896" cy="86481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880858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_alt layout_4 it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49">
            <a:extLst>
              <a:ext uri="{FF2B5EF4-FFF2-40B4-BE49-F238E27FC236}">
                <a16:creationId xmlns:a16="http://schemas.microsoft.com/office/drawing/2014/main" id="{CFCBE24F-90D9-0D4F-A029-478A500670D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504757" y="3983644"/>
            <a:ext cx="2213239" cy="601927"/>
          </a:xfrm>
          <a:prstGeom prst="rect">
            <a:avLst/>
          </a:prstGeom>
        </p:spPr>
        <p:txBody>
          <a:bodyPr/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endParaRPr lang="en-GB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0739A225-04DC-7A1B-82E6-46D7719CBFEA}"/>
              </a:ext>
            </a:extLst>
          </p:cNvPr>
          <p:cNvSpPr/>
          <p:nvPr userDrawn="1"/>
        </p:nvSpPr>
        <p:spPr>
          <a:xfrm>
            <a:off x="9430675" y="3316977"/>
            <a:ext cx="2363047" cy="54617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7">
              <a:solidFill>
                <a:schemeClr val="accent4"/>
              </a:solidFill>
            </a:endParaRP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9165D770-4E36-A544-2246-35064FED425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504757" y="3438133"/>
            <a:ext cx="769938" cy="341313"/>
          </a:xfrm>
          <a:prstGeom prst="rect">
            <a:avLst/>
          </a:prstGeom>
        </p:spPr>
        <p:txBody>
          <a:bodyPr/>
          <a:lstStyle>
            <a:lvl1pPr>
              <a:defRPr sz="1667"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GB"/>
              <a:t>Item 4</a:t>
            </a:r>
          </a:p>
        </p:txBody>
      </p:sp>
      <p:sp>
        <p:nvSpPr>
          <p:cNvPr id="62" name="Text Placeholder 39">
            <a:extLst>
              <a:ext uri="{FF2B5EF4-FFF2-40B4-BE49-F238E27FC236}">
                <a16:creationId xmlns:a16="http://schemas.microsoft.com/office/drawing/2014/main" id="{B50D054B-155C-50CA-F881-4936A81197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30673" y="2656758"/>
            <a:ext cx="554302" cy="943240"/>
          </a:xfrm>
          <a:prstGeom prst="rect">
            <a:avLst/>
          </a:prstGeom>
        </p:spPr>
        <p:txBody>
          <a:bodyPr/>
          <a:lstStyle>
            <a:lvl1pPr>
              <a:defRPr sz="5666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4</a:t>
            </a:r>
          </a:p>
        </p:txBody>
      </p:sp>
      <p:sp>
        <p:nvSpPr>
          <p:cNvPr id="55" name="Text Placeholder 49">
            <a:extLst>
              <a:ext uri="{FF2B5EF4-FFF2-40B4-BE49-F238E27FC236}">
                <a16:creationId xmlns:a16="http://schemas.microsoft.com/office/drawing/2014/main" id="{400DEC33-AE3E-7590-D14F-06DDA78ADC2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495690" y="3983644"/>
            <a:ext cx="2213239" cy="601927"/>
          </a:xfrm>
          <a:prstGeom prst="rect">
            <a:avLst/>
          </a:prstGeom>
        </p:spPr>
        <p:txBody>
          <a:bodyPr/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endParaRPr lang="en-GB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9034C450-96C5-810C-9D86-D8D92816A2DB}"/>
              </a:ext>
            </a:extLst>
          </p:cNvPr>
          <p:cNvSpPr/>
          <p:nvPr userDrawn="1"/>
        </p:nvSpPr>
        <p:spPr>
          <a:xfrm>
            <a:off x="6421607" y="3316977"/>
            <a:ext cx="2363047" cy="54617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7"/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98CD0CC5-83A0-C262-7156-27059BD91C2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95689" y="3438133"/>
            <a:ext cx="769938" cy="341313"/>
          </a:xfrm>
          <a:prstGeom prst="rect">
            <a:avLst/>
          </a:prstGeom>
        </p:spPr>
        <p:txBody>
          <a:bodyPr/>
          <a:lstStyle>
            <a:lvl1pPr>
              <a:defRPr sz="1667"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GB"/>
              <a:t>Item 3</a:t>
            </a:r>
          </a:p>
        </p:txBody>
      </p:sp>
      <p:sp>
        <p:nvSpPr>
          <p:cNvPr id="58" name="Text Placeholder 39">
            <a:extLst>
              <a:ext uri="{FF2B5EF4-FFF2-40B4-BE49-F238E27FC236}">
                <a16:creationId xmlns:a16="http://schemas.microsoft.com/office/drawing/2014/main" id="{45CA200E-C0E9-08CA-E336-57BB91E3CCD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21606" y="2656758"/>
            <a:ext cx="554302" cy="943240"/>
          </a:xfrm>
          <a:prstGeom prst="rect">
            <a:avLst/>
          </a:prstGeom>
        </p:spPr>
        <p:txBody>
          <a:bodyPr/>
          <a:lstStyle>
            <a:lvl1pPr>
              <a:defRPr sz="5666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/>
              <a:t>3</a:t>
            </a:r>
          </a:p>
        </p:txBody>
      </p:sp>
      <p:sp>
        <p:nvSpPr>
          <p:cNvPr id="51" name="Text Placeholder 49">
            <a:extLst>
              <a:ext uri="{FF2B5EF4-FFF2-40B4-BE49-F238E27FC236}">
                <a16:creationId xmlns:a16="http://schemas.microsoft.com/office/drawing/2014/main" id="{D3B73516-0D70-29C9-E3A0-F89CD6D45C1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81345" y="3983644"/>
            <a:ext cx="2213239" cy="601927"/>
          </a:xfrm>
          <a:prstGeom prst="rect">
            <a:avLst/>
          </a:prstGeom>
        </p:spPr>
        <p:txBody>
          <a:bodyPr/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endParaRPr lang="en-GB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90B8EB7-5CB6-2105-F5BE-686A3E990F8A}"/>
              </a:ext>
            </a:extLst>
          </p:cNvPr>
          <p:cNvSpPr/>
          <p:nvPr userDrawn="1"/>
        </p:nvSpPr>
        <p:spPr>
          <a:xfrm>
            <a:off x="3407262" y="3316977"/>
            <a:ext cx="2363047" cy="5461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7"/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7EC5C27E-5084-FB8D-9BD8-696EB288CC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81344" y="3438133"/>
            <a:ext cx="769938" cy="341313"/>
          </a:xfrm>
          <a:prstGeom prst="rect">
            <a:avLst/>
          </a:prstGeom>
        </p:spPr>
        <p:txBody>
          <a:bodyPr/>
          <a:lstStyle>
            <a:lvl1pPr>
              <a:defRPr sz="1667"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GB"/>
              <a:t>Item 2</a:t>
            </a:r>
          </a:p>
        </p:txBody>
      </p:sp>
      <p:sp>
        <p:nvSpPr>
          <p:cNvPr id="54" name="Text Placeholder 39">
            <a:extLst>
              <a:ext uri="{FF2B5EF4-FFF2-40B4-BE49-F238E27FC236}">
                <a16:creationId xmlns:a16="http://schemas.microsoft.com/office/drawing/2014/main" id="{711F1662-5A23-1A12-F7C2-2EF62A04EC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07261" y="2656758"/>
            <a:ext cx="554302" cy="943240"/>
          </a:xfrm>
          <a:prstGeom prst="rect">
            <a:avLst/>
          </a:prstGeom>
        </p:spPr>
        <p:txBody>
          <a:bodyPr/>
          <a:lstStyle>
            <a:lvl1pPr>
              <a:defRPr sz="5666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2</a:t>
            </a:r>
          </a:p>
        </p:txBody>
      </p:sp>
      <p:sp>
        <p:nvSpPr>
          <p:cNvPr id="50" name="Text Placeholder 49">
            <a:extLst>
              <a:ext uri="{FF2B5EF4-FFF2-40B4-BE49-F238E27FC236}">
                <a16:creationId xmlns:a16="http://schemas.microsoft.com/office/drawing/2014/main" id="{7FAEABA8-A883-5F4D-57D6-A2E17C10EF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9636" y="3983644"/>
            <a:ext cx="2213239" cy="601927"/>
          </a:xfrm>
          <a:prstGeom prst="rect">
            <a:avLst/>
          </a:prstGeom>
        </p:spPr>
        <p:txBody>
          <a:bodyPr/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endParaRPr lang="en-GB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7DDEFBC-289B-C50D-0E84-6AC084DE26D5}"/>
              </a:ext>
            </a:extLst>
          </p:cNvPr>
          <p:cNvSpPr/>
          <p:nvPr userDrawn="1"/>
        </p:nvSpPr>
        <p:spPr>
          <a:xfrm>
            <a:off x="395554" y="3316977"/>
            <a:ext cx="2363047" cy="54617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7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85121DCC-2391-F9E1-AEBF-65AEBB008C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9636" y="3438133"/>
            <a:ext cx="769938" cy="341313"/>
          </a:xfrm>
          <a:prstGeom prst="rect">
            <a:avLst/>
          </a:prstGeom>
        </p:spPr>
        <p:txBody>
          <a:bodyPr/>
          <a:lstStyle>
            <a:lvl1pPr>
              <a:defRPr sz="1667"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GB"/>
              <a:t>Item 1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C99A8937-0B11-E127-D119-20AB7E82B1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5552" y="2656758"/>
            <a:ext cx="554302" cy="943240"/>
          </a:xfrm>
          <a:prstGeom prst="rect">
            <a:avLst/>
          </a:prstGeom>
        </p:spPr>
        <p:txBody>
          <a:bodyPr/>
          <a:lstStyle>
            <a:lvl1pPr>
              <a:defRPr sz="5666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1</a:t>
            </a:r>
          </a:p>
        </p:txBody>
      </p:sp>
      <p:sp>
        <p:nvSpPr>
          <p:cNvPr id="38" name="Title 34">
            <a:extLst>
              <a:ext uri="{FF2B5EF4-FFF2-40B4-BE49-F238E27FC236}">
                <a16:creationId xmlns:a16="http://schemas.microsoft.com/office/drawing/2014/main" id="{57FC7CAA-C419-79A0-6AF8-45F2C8DBD9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53" y="399899"/>
            <a:ext cx="11400896" cy="86481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720445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4">
            <a:extLst>
              <a:ext uri="{FF2B5EF4-FFF2-40B4-BE49-F238E27FC236}">
                <a16:creationId xmlns:a16="http://schemas.microsoft.com/office/drawing/2014/main" id="{39BF47C6-4A89-33CA-3469-98F022FB5A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6588" y="399899"/>
            <a:ext cx="11400896" cy="864810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158D036C-89FE-0091-FA27-717AFEABEA2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9608" y="1273674"/>
            <a:ext cx="11416840" cy="360948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C02847FE-3AFD-8943-61D6-D74FA853AEC4}"/>
              </a:ext>
            </a:extLst>
          </p:cNvPr>
          <p:cNvSpPr/>
          <p:nvPr userDrawn="1"/>
        </p:nvSpPr>
        <p:spPr>
          <a:xfrm rot="2758585">
            <a:off x="962352" y="2371009"/>
            <a:ext cx="1667913" cy="1663619"/>
          </a:xfrm>
          <a:prstGeom prst="ellipse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67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D168396B-0292-AA41-86B3-817C93AECCE8}"/>
              </a:ext>
            </a:extLst>
          </p:cNvPr>
          <p:cNvSpPr/>
          <p:nvPr userDrawn="1"/>
        </p:nvSpPr>
        <p:spPr>
          <a:xfrm rot="2758585">
            <a:off x="3828814" y="2303361"/>
            <a:ext cx="1667913" cy="1663619"/>
          </a:xfrm>
          <a:prstGeom prst="ellipse">
            <a:avLst/>
          </a:prstGeom>
          <a:solidFill>
            <a:schemeClr val="accent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67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331A3AB-CDE9-81B2-3F01-14CAD5FE2C39}"/>
              </a:ext>
            </a:extLst>
          </p:cNvPr>
          <p:cNvSpPr/>
          <p:nvPr userDrawn="1"/>
        </p:nvSpPr>
        <p:spPr>
          <a:xfrm rot="2758585">
            <a:off x="6695275" y="2303361"/>
            <a:ext cx="1667913" cy="1663619"/>
          </a:xfrm>
          <a:prstGeom prst="ellipse">
            <a:avLst/>
          </a:prstGeom>
          <a:solidFill>
            <a:schemeClr val="accent3"/>
          </a:solidFill>
          <a:ln w="38100"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67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AEC5A08-FDE0-16D1-9821-568CD26871FB}"/>
              </a:ext>
            </a:extLst>
          </p:cNvPr>
          <p:cNvSpPr/>
          <p:nvPr userDrawn="1"/>
        </p:nvSpPr>
        <p:spPr>
          <a:xfrm rot="18841415" flipH="1">
            <a:off x="9561736" y="2318784"/>
            <a:ext cx="1667913" cy="1663619"/>
          </a:xfrm>
          <a:prstGeom prst="ellipse">
            <a:avLst/>
          </a:prstGeom>
          <a:solidFill>
            <a:schemeClr val="accent4"/>
          </a:solidFill>
          <a:ln w="28575"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67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199880F3-FF0B-309D-CE0B-18B9CA43CC4A}"/>
              </a:ext>
            </a:extLst>
          </p:cNvPr>
          <p:cNvSpPr/>
          <p:nvPr userDrawn="1"/>
        </p:nvSpPr>
        <p:spPr>
          <a:xfrm rot="2758585">
            <a:off x="2219904" y="3557512"/>
            <a:ext cx="746513" cy="744591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0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B9A85AA7-041C-D750-B609-2A11B8A0AA1C}"/>
              </a:ext>
            </a:extLst>
          </p:cNvPr>
          <p:cNvSpPr/>
          <p:nvPr userDrawn="1"/>
        </p:nvSpPr>
        <p:spPr>
          <a:xfrm rot="2758585">
            <a:off x="5036273" y="3530260"/>
            <a:ext cx="746513" cy="744591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0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7801CEF4-7724-2BB0-9944-23463BB3AE08}"/>
              </a:ext>
            </a:extLst>
          </p:cNvPr>
          <p:cNvSpPr/>
          <p:nvPr userDrawn="1"/>
        </p:nvSpPr>
        <p:spPr>
          <a:xfrm rot="2758585">
            <a:off x="7936828" y="3530260"/>
            <a:ext cx="746513" cy="744591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DE8E5612-A02F-2D4C-8026-20D60605F2BF}"/>
              </a:ext>
            </a:extLst>
          </p:cNvPr>
          <p:cNvSpPr/>
          <p:nvPr userDrawn="1"/>
        </p:nvSpPr>
        <p:spPr>
          <a:xfrm rot="2758585">
            <a:off x="10837383" y="3530260"/>
            <a:ext cx="746513" cy="744591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4F3FF1C9-48A2-CE91-1EF6-FDF498055C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biLevel thresh="25000"/>
          </a:blip>
          <a:stretch>
            <a:fillRect/>
          </a:stretch>
        </p:blipFill>
        <p:spPr>
          <a:xfrm>
            <a:off x="2341679" y="3678325"/>
            <a:ext cx="502963" cy="502963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67A4DAF3-DB2A-BE36-3E0A-AF4168919B5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biLevel thresh="25000"/>
          </a:blip>
          <a:stretch>
            <a:fillRect/>
          </a:stretch>
        </p:blipFill>
        <p:spPr>
          <a:xfrm>
            <a:off x="10956617" y="3651073"/>
            <a:ext cx="508044" cy="502963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5CA4FAAF-5E47-A14B-B6B2-D8D35C1FC2C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biLevel thresh="25000"/>
          </a:blip>
          <a:stretch>
            <a:fillRect/>
          </a:stretch>
        </p:blipFill>
        <p:spPr>
          <a:xfrm>
            <a:off x="8058161" y="3650632"/>
            <a:ext cx="503845" cy="503845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4C74F60C-6CAF-223C-CEA6-CB467ED11F6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biLevel thresh="25000"/>
          </a:blip>
          <a:stretch>
            <a:fillRect/>
          </a:stretch>
        </p:blipFill>
        <p:spPr>
          <a:xfrm>
            <a:off x="5104703" y="3597729"/>
            <a:ext cx="609653" cy="609653"/>
          </a:xfrm>
          <a:prstGeom prst="rect">
            <a:avLst/>
          </a:prstGeom>
        </p:spPr>
      </p:pic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2FB38904-A76F-E07A-C666-8FDE2C5B51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18807" y="2786586"/>
            <a:ext cx="539392" cy="83246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4500"/>
              <a:t>S</a:t>
            </a:r>
            <a:endParaRPr lang="en-GB"/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19671A98-54A7-D5E4-7EB1-AA4DD71416D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03327" y="2786585"/>
            <a:ext cx="539392" cy="83246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4500"/>
              <a:t>W</a:t>
            </a:r>
            <a:endParaRPr lang="en-GB"/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47EE0CD3-727D-2FD3-5138-6BBC1936119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59535" y="2765267"/>
            <a:ext cx="539392" cy="83246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4500"/>
              <a:t>O</a:t>
            </a:r>
            <a:endParaRPr lang="en-GB"/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B83FA205-81CF-A210-905E-E91C96B54D5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25937" y="2793614"/>
            <a:ext cx="539392" cy="83246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4500"/>
              <a:t>T</a:t>
            </a:r>
            <a:endParaRPr lang="en-GB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E13D41B4-C8BC-C2B0-1A60-18600EC63A9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4474" y="4806054"/>
            <a:ext cx="1707310" cy="786848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000"/>
            </a:lvl1pPr>
          </a:lstStyle>
          <a:p>
            <a:pPr lvl="0"/>
            <a:endParaRPr lang="en-GB"/>
          </a:p>
        </p:txBody>
      </p:sp>
      <p:sp>
        <p:nvSpPr>
          <p:cNvPr id="37" name="Text Placeholder 35">
            <a:extLst>
              <a:ext uri="{FF2B5EF4-FFF2-40B4-BE49-F238E27FC236}">
                <a16:creationId xmlns:a16="http://schemas.microsoft.com/office/drawing/2014/main" id="{685E9BC8-C2EC-D9C0-B9C4-8A1D341C00E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19368" y="4806054"/>
            <a:ext cx="1707310" cy="786848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000"/>
            </a:lvl1pPr>
          </a:lstStyle>
          <a:p>
            <a:pPr lvl="0"/>
            <a:endParaRPr lang="en-GB"/>
          </a:p>
        </p:txBody>
      </p:sp>
      <p:sp>
        <p:nvSpPr>
          <p:cNvPr id="38" name="Text Placeholder 35">
            <a:extLst>
              <a:ext uri="{FF2B5EF4-FFF2-40B4-BE49-F238E27FC236}">
                <a16:creationId xmlns:a16="http://schemas.microsoft.com/office/drawing/2014/main" id="{7967F5EB-8358-76F3-2500-74417C7ABE1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696084" y="4806054"/>
            <a:ext cx="1707310" cy="786848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000"/>
            </a:lvl1pPr>
          </a:lstStyle>
          <a:p>
            <a:pPr lvl="0"/>
            <a:endParaRPr lang="en-GB"/>
          </a:p>
        </p:txBody>
      </p:sp>
      <p:sp>
        <p:nvSpPr>
          <p:cNvPr id="39" name="Text Placeholder 35">
            <a:extLst>
              <a:ext uri="{FF2B5EF4-FFF2-40B4-BE49-F238E27FC236}">
                <a16:creationId xmlns:a16="http://schemas.microsoft.com/office/drawing/2014/main" id="{F2F7BC9F-289A-F562-8BB2-E931D14F0A7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570588" y="4806054"/>
            <a:ext cx="1707310" cy="786848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000"/>
            </a:lvl1pPr>
          </a:lstStyle>
          <a:p>
            <a:pPr lvl="0"/>
            <a:endParaRPr lang="en-GB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1A7C27C5-D0E4-DC2B-554D-95DBCBD90C2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35222" y="4362216"/>
            <a:ext cx="1706563" cy="31353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3" b="1">
                <a:solidFill>
                  <a:schemeClr val="accent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42" name="Text Placeholder 40">
            <a:extLst>
              <a:ext uri="{FF2B5EF4-FFF2-40B4-BE49-F238E27FC236}">
                <a16:creationId xmlns:a16="http://schemas.microsoft.com/office/drawing/2014/main" id="{288DEA66-8F34-5093-3905-DB8EC1EA9FF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809863" y="4365063"/>
            <a:ext cx="1706563" cy="31353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3" b="1">
                <a:solidFill>
                  <a:schemeClr val="accent2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43" name="Text Placeholder 40">
            <a:extLst>
              <a:ext uri="{FF2B5EF4-FFF2-40B4-BE49-F238E27FC236}">
                <a16:creationId xmlns:a16="http://schemas.microsoft.com/office/drawing/2014/main" id="{66F4E649-1293-81F4-FFF6-13AD9351F00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684504" y="4356953"/>
            <a:ext cx="1706563" cy="31353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3" b="1">
                <a:solidFill>
                  <a:schemeClr val="accent3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44" name="Text Placeholder 40">
            <a:extLst>
              <a:ext uri="{FF2B5EF4-FFF2-40B4-BE49-F238E27FC236}">
                <a16:creationId xmlns:a16="http://schemas.microsoft.com/office/drawing/2014/main" id="{2D527671-D380-3A7D-500D-C1FF5A70F96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571336" y="4365063"/>
            <a:ext cx="1706563" cy="31353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3" b="1">
                <a:solidFill>
                  <a:schemeClr val="accent4"/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172295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 1_edi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>
            <a:extLst>
              <a:ext uri="{FF2B5EF4-FFF2-40B4-BE49-F238E27FC236}">
                <a16:creationId xmlns:a16="http://schemas.microsoft.com/office/drawing/2014/main" id="{C02847FE-3AFD-8943-61D6-D74FA853AEC4}"/>
              </a:ext>
            </a:extLst>
          </p:cNvPr>
          <p:cNvSpPr/>
          <p:nvPr userDrawn="1"/>
        </p:nvSpPr>
        <p:spPr>
          <a:xfrm rot="2758585">
            <a:off x="962352" y="2371009"/>
            <a:ext cx="1667913" cy="1663619"/>
          </a:xfrm>
          <a:prstGeom prst="ellipse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67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199880F3-FF0B-309D-CE0B-18B9CA43CC4A}"/>
              </a:ext>
            </a:extLst>
          </p:cNvPr>
          <p:cNvSpPr/>
          <p:nvPr userDrawn="1"/>
        </p:nvSpPr>
        <p:spPr>
          <a:xfrm rot="2758585">
            <a:off x="2219904" y="3557512"/>
            <a:ext cx="746513" cy="744591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6630571-D296-3C75-8437-72B582A05AF0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344209" y="3651250"/>
            <a:ext cx="541073" cy="539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33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4">
            <a:extLst>
              <a:ext uri="{FF2B5EF4-FFF2-40B4-BE49-F238E27FC236}">
                <a16:creationId xmlns:a16="http://schemas.microsoft.com/office/drawing/2014/main" id="{39BF47C6-4A89-33CA-3469-98F022FB5A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6588" y="399899"/>
            <a:ext cx="11400896" cy="864810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158D036C-89FE-0091-FA27-717AFEABEA2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9608" y="1273674"/>
            <a:ext cx="11416840" cy="360948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D168396B-0292-AA41-86B3-817C93AECCE8}"/>
              </a:ext>
            </a:extLst>
          </p:cNvPr>
          <p:cNvSpPr/>
          <p:nvPr userDrawn="1"/>
        </p:nvSpPr>
        <p:spPr>
          <a:xfrm rot="2758585">
            <a:off x="3828814" y="2303361"/>
            <a:ext cx="1667913" cy="1663619"/>
          </a:xfrm>
          <a:prstGeom prst="ellipse">
            <a:avLst/>
          </a:prstGeom>
          <a:solidFill>
            <a:schemeClr val="accent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67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331A3AB-CDE9-81B2-3F01-14CAD5FE2C39}"/>
              </a:ext>
            </a:extLst>
          </p:cNvPr>
          <p:cNvSpPr/>
          <p:nvPr userDrawn="1"/>
        </p:nvSpPr>
        <p:spPr>
          <a:xfrm rot="2758585">
            <a:off x="6695275" y="2303361"/>
            <a:ext cx="1667913" cy="1663619"/>
          </a:xfrm>
          <a:prstGeom prst="ellipse">
            <a:avLst/>
          </a:prstGeom>
          <a:solidFill>
            <a:schemeClr val="accent3"/>
          </a:solidFill>
          <a:ln w="38100"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67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AEC5A08-FDE0-16D1-9821-568CD26871FB}"/>
              </a:ext>
            </a:extLst>
          </p:cNvPr>
          <p:cNvSpPr/>
          <p:nvPr userDrawn="1"/>
        </p:nvSpPr>
        <p:spPr>
          <a:xfrm rot="18841415" flipH="1">
            <a:off x="9561736" y="2318784"/>
            <a:ext cx="1667913" cy="1663619"/>
          </a:xfrm>
          <a:prstGeom prst="ellipse">
            <a:avLst/>
          </a:prstGeom>
          <a:solidFill>
            <a:schemeClr val="accent4"/>
          </a:solidFill>
          <a:ln w="28575"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67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B9A85AA7-041C-D750-B609-2A11B8A0AA1C}"/>
              </a:ext>
            </a:extLst>
          </p:cNvPr>
          <p:cNvSpPr/>
          <p:nvPr userDrawn="1"/>
        </p:nvSpPr>
        <p:spPr>
          <a:xfrm rot="2758585">
            <a:off x="5036273" y="3530260"/>
            <a:ext cx="746513" cy="744591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0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7801CEF4-7724-2BB0-9944-23463BB3AE08}"/>
              </a:ext>
            </a:extLst>
          </p:cNvPr>
          <p:cNvSpPr/>
          <p:nvPr userDrawn="1"/>
        </p:nvSpPr>
        <p:spPr>
          <a:xfrm rot="2758585">
            <a:off x="7936828" y="3530260"/>
            <a:ext cx="746513" cy="744591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DE8E5612-A02F-2D4C-8026-20D60605F2BF}"/>
              </a:ext>
            </a:extLst>
          </p:cNvPr>
          <p:cNvSpPr/>
          <p:nvPr userDrawn="1"/>
        </p:nvSpPr>
        <p:spPr>
          <a:xfrm rot="2758585">
            <a:off x="10837383" y="3530260"/>
            <a:ext cx="746513" cy="744591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0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2FB38904-A76F-E07A-C666-8FDE2C5B51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18807" y="2786586"/>
            <a:ext cx="539392" cy="83246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4500"/>
              <a:t>S</a:t>
            </a:r>
            <a:endParaRPr lang="en-GB"/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19671A98-54A7-D5E4-7EB1-AA4DD71416D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03327" y="2786585"/>
            <a:ext cx="539392" cy="83246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4500"/>
              <a:t>W</a:t>
            </a:r>
            <a:endParaRPr lang="en-GB"/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47EE0CD3-727D-2FD3-5138-6BBC1936119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59535" y="2765267"/>
            <a:ext cx="539392" cy="83246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4500"/>
              <a:t>O</a:t>
            </a:r>
            <a:endParaRPr lang="en-GB"/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B83FA205-81CF-A210-905E-E91C96B54D5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25937" y="2793614"/>
            <a:ext cx="539392" cy="83246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4500"/>
              <a:t>T</a:t>
            </a:r>
            <a:endParaRPr lang="en-GB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E13D41B4-C8BC-C2B0-1A60-18600EC63A9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4474" y="4806054"/>
            <a:ext cx="1707310" cy="786848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000"/>
            </a:lvl1pPr>
          </a:lstStyle>
          <a:p>
            <a:pPr lvl="0"/>
            <a:endParaRPr lang="en-GB"/>
          </a:p>
        </p:txBody>
      </p:sp>
      <p:sp>
        <p:nvSpPr>
          <p:cNvPr id="37" name="Text Placeholder 35">
            <a:extLst>
              <a:ext uri="{FF2B5EF4-FFF2-40B4-BE49-F238E27FC236}">
                <a16:creationId xmlns:a16="http://schemas.microsoft.com/office/drawing/2014/main" id="{685E9BC8-C2EC-D9C0-B9C4-8A1D341C00E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19368" y="4806054"/>
            <a:ext cx="1707310" cy="786848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000"/>
            </a:lvl1pPr>
          </a:lstStyle>
          <a:p>
            <a:pPr lvl="0"/>
            <a:endParaRPr lang="en-GB"/>
          </a:p>
        </p:txBody>
      </p:sp>
      <p:sp>
        <p:nvSpPr>
          <p:cNvPr id="38" name="Text Placeholder 35">
            <a:extLst>
              <a:ext uri="{FF2B5EF4-FFF2-40B4-BE49-F238E27FC236}">
                <a16:creationId xmlns:a16="http://schemas.microsoft.com/office/drawing/2014/main" id="{7967F5EB-8358-76F3-2500-74417C7ABE1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696084" y="4806054"/>
            <a:ext cx="1707310" cy="786848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000"/>
            </a:lvl1pPr>
          </a:lstStyle>
          <a:p>
            <a:pPr lvl="0"/>
            <a:endParaRPr lang="en-GB"/>
          </a:p>
        </p:txBody>
      </p:sp>
      <p:sp>
        <p:nvSpPr>
          <p:cNvPr id="39" name="Text Placeholder 35">
            <a:extLst>
              <a:ext uri="{FF2B5EF4-FFF2-40B4-BE49-F238E27FC236}">
                <a16:creationId xmlns:a16="http://schemas.microsoft.com/office/drawing/2014/main" id="{F2F7BC9F-289A-F562-8BB2-E931D14F0A7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570588" y="4806054"/>
            <a:ext cx="1707310" cy="786848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000"/>
            </a:lvl1pPr>
          </a:lstStyle>
          <a:p>
            <a:pPr lvl="0"/>
            <a:endParaRPr lang="en-GB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1A7C27C5-D0E4-DC2B-554D-95DBCBD90C2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35222" y="4362216"/>
            <a:ext cx="1706563" cy="31353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3" b="1">
                <a:solidFill>
                  <a:schemeClr val="accent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42" name="Text Placeholder 40">
            <a:extLst>
              <a:ext uri="{FF2B5EF4-FFF2-40B4-BE49-F238E27FC236}">
                <a16:creationId xmlns:a16="http://schemas.microsoft.com/office/drawing/2014/main" id="{288DEA66-8F34-5093-3905-DB8EC1EA9FF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809863" y="4365063"/>
            <a:ext cx="1706563" cy="31353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3" b="1">
                <a:solidFill>
                  <a:schemeClr val="accent2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43" name="Text Placeholder 40">
            <a:extLst>
              <a:ext uri="{FF2B5EF4-FFF2-40B4-BE49-F238E27FC236}">
                <a16:creationId xmlns:a16="http://schemas.microsoft.com/office/drawing/2014/main" id="{66F4E649-1293-81F4-FFF6-13AD9351F00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684504" y="4356953"/>
            <a:ext cx="1706563" cy="31353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3" b="1">
                <a:solidFill>
                  <a:schemeClr val="accent3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44" name="Text Placeholder 40">
            <a:extLst>
              <a:ext uri="{FF2B5EF4-FFF2-40B4-BE49-F238E27FC236}">
                <a16:creationId xmlns:a16="http://schemas.microsoft.com/office/drawing/2014/main" id="{2D527671-D380-3A7D-500D-C1FF5A70F96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571336" y="4365063"/>
            <a:ext cx="1706563" cy="31353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3" b="1">
                <a:solidFill>
                  <a:schemeClr val="accent4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208AC01E-C5C0-724C-2911-F4C843EF3AEA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5138992" y="3651250"/>
            <a:ext cx="541073" cy="539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33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3818E8F6-B427-D06C-A5EF-16041649168A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8039547" y="3651250"/>
            <a:ext cx="541073" cy="539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33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B5ACE4EC-4CB6-9A9F-52A4-3D4773F1D269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10940102" y="3651250"/>
            <a:ext cx="541073" cy="539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33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981528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69BB38A-ADD2-117F-9439-9B256EC68A1A}"/>
              </a:ext>
            </a:extLst>
          </p:cNvPr>
          <p:cNvCxnSpPr>
            <a:cxnSpLocks/>
          </p:cNvCxnSpPr>
          <p:nvPr userDrawn="1"/>
        </p:nvCxnSpPr>
        <p:spPr>
          <a:xfrm>
            <a:off x="6121720" y="2319421"/>
            <a:ext cx="0" cy="3288632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9962BCB-1882-AA4B-27C3-7865B0CE1D0E}"/>
              </a:ext>
            </a:extLst>
          </p:cNvPr>
          <p:cNvCxnSpPr>
            <a:cxnSpLocks/>
          </p:cNvCxnSpPr>
          <p:nvPr userDrawn="1"/>
        </p:nvCxnSpPr>
        <p:spPr>
          <a:xfrm>
            <a:off x="2660573" y="3933500"/>
            <a:ext cx="689810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reeform: Shape 10">
            <a:extLst>
              <a:ext uri="{FF2B5EF4-FFF2-40B4-BE49-F238E27FC236}">
                <a16:creationId xmlns:a16="http://schemas.microsoft.com/office/drawing/2014/main" id="{BC9A416A-32CF-25C8-509F-BBE9E0CC124E}"/>
              </a:ext>
            </a:extLst>
          </p:cNvPr>
          <p:cNvSpPr/>
          <p:nvPr userDrawn="1"/>
        </p:nvSpPr>
        <p:spPr>
          <a:xfrm>
            <a:off x="5396850" y="3203289"/>
            <a:ext cx="725899" cy="725899"/>
          </a:xfrm>
          <a:custGeom>
            <a:avLst/>
            <a:gdLst>
              <a:gd name="connsiteX0" fmla="*/ 771144 w 771144"/>
              <a:gd name="connsiteY0" fmla="*/ 0 h 771143"/>
              <a:gd name="connsiteX1" fmla="*/ 0 w 771144"/>
              <a:gd name="connsiteY1" fmla="*/ 771144 h 771143"/>
              <a:gd name="connsiteX2" fmla="*/ 771144 w 771144"/>
              <a:gd name="connsiteY2" fmla="*/ 771144 h 771143"/>
              <a:gd name="connsiteX3" fmla="*/ 771144 w 771144"/>
              <a:gd name="connsiteY3" fmla="*/ 0 h 7711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1144" h="771143">
                <a:moveTo>
                  <a:pt x="771144" y="0"/>
                </a:moveTo>
                <a:cubicBezTo>
                  <a:pt x="345186" y="0"/>
                  <a:pt x="0" y="345281"/>
                  <a:pt x="0" y="771144"/>
                </a:cubicBezTo>
                <a:lnTo>
                  <a:pt x="771144" y="771144"/>
                </a:lnTo>
                <a:lnTo>
                  <a:pt x="771144" y="0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Freeform: Shape 11">
            <a:extLst>
              <a:ext uri="{FF2B5EF4-FFF2-40B4-BE49-F238E27FC236}">
                <a16:creationId xmlns:a16="http://schemas.microsoft.com/office/drawing/2014/main" id="{72DE3ECE-00B7-BB59-0662-0E7639B007E5}"/>
              </a:ext>
            </a:extLst>
          </p:cNvPr>
          <p:cNvSpPr/>
          <p:nvPr userDrawn="1"/>
        </p:nvSpPr>
        <p:spPr>
          <a:xfrm>
            <a:off x="6122749" y="3209336"/>
            <a:ext cx="725898" cy="725899"/>
          </a:xfrm>
          <a:custGeom>
            <a:avLst/>
            <a:gdLst>
              <a:gd name="connsiteX0" fmla="*/ 0 w 771143"/>
              <a:gd name="connsiteY0" fmla="*/ 0 h 771143"/>
              <a:gd name="connsiteX1" fmla="*/ 0 w 771143"/>
              <a:gd name="connsiteY1" fmla="*/ 771144 h 771143"/>
              <a:gd name="connsiteX2" fmla="*/ 771144 w 771143"/>
              <a:gd name="connsiteY2" fmla="*/ 771144 h 771143"/>
              <a:gd name="connsiteX3" fmla="*/ 0 w 771143"/>
              <a:gd name="connsiteY3" fmla="*/ 0 h 7711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1143" h="771143">
                <a:moveTo>
                  <a:pt x="0" y="0"/>
                </a:moveTo>
                <a:lnTo>
                  <a:pt x="0" y="771144"/>
                </a:lnTo>
                <a:lnTo>
                  <a:pt x="771144" y="771144"/>
                </a:lnTo>
                <a:cubicBezTo>
                  <a:pt x="771144" y="345281"/>
                  <a:pt x="425863" y="0"/>
                  <a:pt x="0" y="0"/>
                </a:cubicBezTo>
                <a:close/>
              </a:path>
            </a:pathLst>
          </a:custGeom>
          <a:solidFill>
            <a:srgbClr val="00CCD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142245E1-E911-39DE-D851-863F9423239E}"/>
              </a:ext>
            </a:extLst>
          </p:cNvPr>
          <p:cNvSpPr/>
          <p:nvPr userDrawn="1"/>
        </p:nvSpPr>
        <p:spPr>
          <a:xfrm>
            <a:off x="6122749" y="3203289"/>
            <a:ext cx="725898" cy="725899"/>
          </a:xfrm>
          <a:custGeom>
            <a:avLst/>
            <a:gdLst>
              <a:gd name="connsiteX0" fmla="*/ 0 w 771143"/>
              <a:gd name="connsiteY0" fmla="*/ 0 h 771143"/>
              <a:gd name="connsiteX1" fmla="*/ 0 w 771143"/>
              <a:gd name="connsiteY1" fmla="*/ 771144 h 771143"/>
              <a:gd name="connsiteX2" fmla="*/ 771144 w 771143"/>
              <a:gd name="connsiteY2" fmla="*/ 771144 h 771143"/>
              <a:gd name="connsiteX3" fmla="*/ 0 w 771143"/>
              <a:gd name="connsiteY3" fmla="*/ 0 h 7711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1143" h="771143">
                <a:moveTo>
                  <a:pt x="0" y="0"/>
                </a:moveTo>
                <a:lnTo>
                  <a:pt x="0" y="771144"/>
                </a:lnTo>
                <a:lnTo>
                  <a:pt x="771144" y="771144"/>
                </a:lnTo>
                <a:cubicBezTo>
                  <a:pt x="771144" y="345281"/>
                  <a:pt x="425863" y="0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F41AA186-57CA-CAD6-93B4-53184B65E8D5}"/>
              </a:ext>
            </a:extLst>
          </p:cNvPr>
          <p:cNvSpPr/>
          <p:nvPr userDrawn="1"/>
        </p:nvSpPr>
        <p:spPr>
          <a:xfrm>
            <a:off x="5396760" y="3929279"/>
            <a:ext cx="725899" cy="725989"/>
          </a:xfrm>
          <a:custGeom>
            <a:avLst/>
            <a:gdLst>
              <a:gd name="connsiteX0" fmla="*/ 0 w 771144"/>
              <a:gd name="connsiteY0" fmla="*/ 0 h 771239"/>
              <a:gd name="connsiteX1" fmla="*/ 771144 w 771144"/>
              <a:gd name="connsiteY1" fmla="*/ 771239 h 771239"/>
              <a:gd name="connsiteX2" fmla="*/ 771144 w 771144"/>
              <a:gd name="connsiteY2" fmla="*/ 0 h 771239"/>
              <a:gd name="connsiteX3" fmla="*/ 0 w 771144"/>
              <a:gd name="connsiteY3" fmla="*/ 0 h 771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1144" h="771239">
                <a:moveTo>
                  <a:pt x="0" y="0"/>
                </a:moveTo>
                <a:cubicBezTo>
                  <a:pt x="0" y="425958"/>
                  <a:pt x="345281" y="771239"/>
                  <a:pt x="771144" y="771239"/>
                </a:cubicBezTo>
                <a:lnTo>
                  <a:pt x="77114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FA515612-A9E6-BD2E-1841-A4B5F9264345}"/>
              </a:ext>
            </a:extLst>
          </p:cNvPr>
          <p:cNvSpPr/>
          <p:nvPr userDrawn="1"/>
        </p:nvSpPr>
        <p:spPr>
          <a:xfrm>
            <a:off x="6122749" y="3929189"/>
            <a:ext cx="725898" cy="725989"/>
          </a:xfrm>
          <a:custGeom>
            <a:avLst/>
            <a:gdLst>
              <a:gd name="connsiteX0" fmla="*/ 0 w 771143"/>
              <a:gd name="connsiteY0" fmla="*/ 771239 h 771239"/>
              <a:gd name="connsiteX1" fmla="*/ 771144 w 771143"/>
              <a:gd name="connsiteY1" fmla="*/ 0 h 771239"/>
              <a:gd name="connsiteX2" fmla="*/ 0 w 771143"/>
              <a:gd name="connsiteY2" fmla="*/ 0 h 771239"/>
              <a:gd name="connsiteX3" fmla="*/ 0 w 771143"/>
              <a:gd name="connsiteY3" fmla="*/ 771239 h 771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1143" h="771239">
                <a:moveTo>
                  <a:pt x="0" y="771239"/>
                </a:moveTo>
                <a:cubicBezTo>
                  <a:pt x="425958" y="771239"/>
                  <a:pt x="771144" y="425958"/>
                  <a:pt x="771144" y="0"/>
                </a:cubicBezTo>
                <a:lnTo>
                  <a:pt x="0" y="0"/>
                </a:lnTo>
                <a:lnTo>
                  <a:pt x="0" y="771239"/>
                </a:lnTo>
                <a:close/>
              </a:path>
            </a:pathLst>
          </a:cu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FEF573CB-D4A0-208C-EC79-AACE6A1B640D}"/>
              </a:ext>
            </a:extLst>
          </p:cNvPr>
          <p:cNvSpPr/>
          <p:nvPr userDrawn="1"/>
        </p:nvSpPr>
        <p:spPr>
          <a:xfrm>
            <a:off x="5572047" y="3384624"/>
            <a:ext cx="1101400" cy="1101402"/>
          </a:xfrm>
          <a:custGeom>
            <a:avLst/>
            <a:gdLst>
              <a:gd name="connsiteX0" fmla="*/ 1170051 w 1170050"/>
              <a:gd name="connsiteY0" fmla="*/ 585026 h 1170051"/>
              <a:gd name="connsiteX1" fmla="*/ 585026 w 1170050"/>
              <a:gd name="connsiteY1" fmla="*/ 1170051 h 1170051"/>
              <a:gd name="connsiteX2" fmla="*/ 0 w 1170050"/>
              <a:gd name="connsiteY2" fmla="*/ 585026 h 1170051"/>
              <a:gd name="connsiteX3" fmla="*/ 585026 w 1170050"/>
              <a:gd name="connsiteY3" fmla="*/ 0 h 1170051"/>
              <a:gd name="connsiteX4" fmla="*/ 1170051 w 1170050"/>
              <a:gd name="connsiteY4" fmla="*/ 585026 h 11700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70050" h="1170051">
                <a:moveTo>
                  <a:pt x="1170051" y="585026"/>
                </a:moveTo>
                <a:cubicBezTo>
                  <a:pt x="1170051" y="908114"/>
                  <a:pt x="908113" y="1170051"/>
                  <a:pt x="585026" y="1170051"/>
                </a:cubicBezTo>
                <a:cubicBezTo>
                  <a:pt x="261937" y="1170051"/>
                  <a:pt x="0" y="908114"/>
                  <a:pt x="0" y="585026"/>
                </a:cubicBezTo>
                <a:cubicBezTo>
                  <a:pt x="0" y="261938"/>
                  <a:pt x="261937" y="0"/>
                  <a:pt x="585026" y="0"/>
                </a:cubicBezTo>
                <a:cubicBezTo>
                  <a:pt x="908113" y="0"/>
                  <a:pt x="1170051" y="261938"/>
                  <a:pt x="1170051" y="585026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8F44A993-C88E-70DE-E773-78B8BDE5431A}"/>
              </a:ext>
            </a:extLst>
          </p:cNvPr>
          <p:cNvSpPr/>
          <p:nvPr userDrawn="1"/>
        </p:nvSpPr>
        <p:spPr>
          <a:xfrm>
            <a:off x="5240749" y="3054760"/>
            <a:ext cx="846493" cy="846405"/>
          </a:xfrm>
          <a:custGeom>
            <a:avLst/>
            <a:gdLst>
              <a:gd name="connsiteX0" fmla="*/ 37529 w 899255"/>
              <a:gd name="connsiteY0" fmla="*/ 899160 h 899160"/>
              <a:gd name="connsiteX1" fmla="*/ 899255 w 899255"/>
              <a:gd name="connsiteY1" fmla="*/ 37529 h 899160"/>
              <a:gd name="connsiteX2" fmla="*/ 899255 w 899255"/>
              <a:gd name="connsiteY2" fmla="*/ 0 h 899160"/>
              <a:gd name="connsiteX3" fmla="*/ 0 w 899255"/>
              <a:gd name="connsiteY3" fmla="*/ 899160 h 899160"/>
              <a:gd name="connsiteX4" fmla="*/ 37529 w 899255"/>
              <a:gd name="connsiteY4" fmla="*/ 899160 h 899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255" h="899160">
                <a:moveTo>
                  <a:pt x="37529" y="899160"/>
                </a:moveTo>
                <a:cubicBezTo>
                  <a:pt x="56198" y="432435"/>
                  <a:pt x="432435" y="56198"/>
                  <a:pt x="899255" y="37529"/>
                </a:cubicBezTo>
                <a:lnTo>
                  <a:pt x="899255" y="0"/>
                </a:lnTo>
                <a:cubicBezTo>
                  <a:pt x="411766" y="18669"/>
                  <a:pt x="18669" y="411766"/>
                  <a:pt x="0" y="899160"/>
                </a:cubicBezTo>
                <a:lnTo>
                  <a:pt x="37529" y="899160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368BAE06-8994-6700-06D5-982251AFA45C}"/>
              </a:ext>
            </a:extLst>
          </p:cNvPr>
          <p:cNvSpPr/>
          <p:nvPr userDrawn="1"/>
        </p:nvSpPr>
        <p:spPr>
          <a:xfrm>
            <a:off x="5240749" y="3968948"/>
            <a:ext cx="846493" cy="846943"/>
          </a:xfrm>
          <a:custGeom>
            <a:avLst/>
            <a:gdLst>
              <a:gd name="connsiteX0" fmla="*/ 37529 w 899255"/>
              <a:gd name="connsiteY0" fmla="*/ 0 h 899731"/>
              <a:gd name="connsiteX1" fmla="*/ 0 w 899255"/>
              <a:gd name="connsiteY1" fmla="*/ 0 h 899731"/>
              <a:gd name="connsiteX2" fmla="*/ 899255 w 899255"/>
              <a:gd name="connsiteY2" fmla="*/ 899732 h 899731"/>
              <a:gd name="connsiteX3" fmla="*/ 899255 w 899255"/>
              <a:gd name="connsiteY3" fmla="*/ 862203 h 899731"/>
              <a:gd name="connsiteX4" fmla="*/ 37529 w 899255"/>
              <a:gd name="connsiteY4" fmla="*/ 0 h 899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255" h="899731">
                <a:moveTo>
                  <a:pt x="37529" y="0"/>
                </a:moveTo>
                <a:lnTo>
                  <a:pt x="0" y="0"/>
                </a:lnTo>
                <a:cubicBezTo>
                  <a:pt x="18383" y="487680"/>
                  <a:pt x="411575" y="881063"/>
                  <a:pt x="899255" y="899732"/>
                </a:cubicBezTo>
                <a:lnTo>
                  <a:pt x="899255" y="862203"/>
                </a:lnTo>
                <a:cubicBezTo>
                  <a:pt x="432245" y="843534"/>
                  <a:pt x="55912" y="467011"/>
                  <a:pt x="37529" y="0"/>
                </a:cubicBez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8C5FDC08-F59C-9B02-7BC3-5CA367469DB1}"/>
              </a:ext>
            </a:extLst>
          </p:cNvPr>
          <p:cNvSpPr/>
          <p:nvPr userDrawn="1"/>
        </p:nvSpPr>
        <p:spPr>
          <a:xfrm>
            <a:off x="6154937" y="3054760"/>
            <a:ext cx="847031" cy="846405"/>
          </a:xfrm>
          <a:custGeom>
            <a:avLst/>
            <a:gdLst>
              <a:gd name="connsiteX0" fmla="*/ 862298 w 899826"/>
              <a:gd name="connsiteY0" fmla="*/ 899160 h 899160"/>
              <a:gd name="connsiteX1" fmla="*/ 899827 w 899826"/>
              <a:gd name="connsiteY1" fmla="*/ 899160 h 899160"/>
              <a:gd name="connsiteX2" fmla="*/ 0 w 899826"/>
              <a:gd name="connsiteY2" fmla="*/ 0 h 899160"/>
              <a:gd name="connsiteX3" fmla="*/ 0 w 899826"/>
              <a:gd name="connsiteY3" fmla="*/ 37529 h 899160"/>
              <a:gd name="connsiteX4" fmla="*/ 862298 w 899826"/>
              <a:gd name="connsiteY4" fmla="*/ 899160 h 899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826" h="899160">
                <a:moveTo>
                  <a:pt x="862298" y="899160"/>
                </a:moveTo>
                <a:lnTo>
                  <a:pt x="899827" y="899160"/>
                </a:lnTo>
                <a:cubicBezTo>
                  <a:pt x="881158" y="411575"/>
                  <a:pt x="487775" y="18383"/>
                  <a:pt x="0" y="0"/>
                </a:cubicBezTo>
                <a:lnTo>
                  <a:pt x="0" y="37529"/>
                </a:lnTo>
                <a:cubicBezTo>
                  <a:pt x="467011" y="55912"/>
                  <a:pt x="843629" y="432245"/>
                  <a:pt x="862298" y="899160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BD88C099-9E35-EF40-C1C9-F0EDD72098E4}"/>
              </a:ext>
            </a:extLst>
          </p:cNvPr>
          <p:cNvSpPr/>
          <p:nvPr userDrawn="1"/>
        </p:nvSpPr>
        <p:spPr>
          <a:xfrm>
            <a:off x="6154937" y="3968948"/>
            <a:ext cx="847031" cy="846943"/>
          </a:xfrm>
          <a:custGeom>
            <a:avLst/>
            <a:gdLst>
              <a:gd name="connsiteX0" fmla="*/ 862298 w 899826"/>
              <a:gd name="connsiteY0" fmla="*/ 0 h 899731"/>
              <a:gd name="connsiteX1" fmla="*/ 0 w 899826"/>
              <a:gd name="connsiteY1" fmla="*/ 862203 h 899731"/>
              <a:gd name="connsiteX2" fmla="*/ 0 w 899826"/>
              <a:gd name="connsiteY2" fmla="*/ 899732 h 899731"/>
              <a:gd name="connsiteX3" fmla="*/ 899827 w 899826"/>
              <a:gd name="connsiteY3" fmla="*/ 0 h 899731"/>
              <a:gd name="connsiteX4" fmla="*/ 862298 w 899826"/>
              <a:gd name="connsiteY4" fmla="*/ 0 h 899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826" h="899731">
                <a:moveTo>
                  <a:pt x="862298" y="0"/>
                </a:moveTo>
                <a:cubicBezTo>
                  <a:pt x="843915" y="467201"/>
                  <a:pt x="467297" y="843820"/>
                  <a:pt x="0" y="862203"/>
                </a:cubicBezTo>
                <a:lnTo>
                  <a:pt x="0" y="899732"/>
                </a:lnTo>
                <a:cubicBezTo>
                  <a:pt x="487870" y="881348"/>
                  <a:pt x="881444" y="487870"/>
                  <a:pt x="899827" y="0"/>
                </a:cubicBezTo>
                <a:lnTo>
                  <a:pt x="862298" y="0"/>
                </a:lnTo>
                <a:close/>
              </a:path>
            </a:pathLst>
          </a:cu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779F419C-9039-9106-1E71-25BF1CF878B9}"/>
              </a:ext>
            </a:extLst>
          </p:cNvPr>
          <p:cNvSpPr/>
          <p:nvPr userDrawn="1"/>
        </p:nvSpPr>
        <p:spPr>
          <a:xfrm rot="18900243">
            <a:off x="5407470" y="3143746"/>
            <a:ext cx="57297" cy="205247"/>
          </a:xfrm>
          <a:custGeom>
            <a:avLst/>
            <a:gdLst>
              <a:gd name="connsiteX0" fmla="*/ 0 w 60868"/>
              <a:gd name="connsiteY0" fmla="*/ 0 h 218040"/>
              <a:gd name="connsiteX1" fmla="*/ 60868 w 60868"/>
              <a:gd name="connsiteY1" fmla="*/ 0 h 218040"/>
              <a:gd name="connsiteX2" fmla="*/ 60868 w 60868"/>
              <a:gd name="connsiteY2" fmla="*/ 218041 h 218040"/>
              <a:gd name="connsiteX3" fmla="*/ 0 w 60868"/>
              <a:gd name="connsiteY3" fmla="*/ 218041 h 218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868" h="218040">
                <a:moveTo>
                  <a:pt x="0" y="0"/>
                </a:moveTo>
                <a:lnTo>
                  <a:pt x="60868" y="0"/>
                </a:lnTo>
                <a:lnTo>
                  <a:pt x="60868" y="218041"/>
                </a:lnTo>
                <a:lnTo>
                  <a:pt x="0" y="218041"/>
                </a:lnTo>
                <a:close/>
              </a:path>
            </a:pathLst>
          </a:custGeom>
          <a:solidFill>
            <a:schemeClr val="accent1"/>
          </a:solidFill>
          <a:ln w="952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FC20F593-2EBD-5A20-8B3A-CBCDE98D6DE6}"/>
              </a:ext>
            </a:extLst>
          </p:cNvPr>
          <p:cNvSpPr/>
          <p:nvPr userDrawn="1"/>
        </p:nvSpPr>
        <p:spPr>
          <a:xfrm>
            <a:off x="5459972" y="3270283"/>
            <a:ext cx="97283" cy="97215"/>
          </a:xfrm>
          <a:custGeom>
            <a:avLst/>
            <a:gdLst>
              <a:gd name="connsiteX0" fmla="*/ 88201 w 103346"/>
              <a:gd name="connsiteY0" fmla="*/ 15073 h 103274"/>
              <a:gd name="connsiteX1" fmla="*/ 88201 w 103346"/>
              <a:gd name="connsiteY1" fmla="*/ 88130 h 103274"/>
              <a:gd name="connsiteX2" fmla="*/ 15145 w 103346"/>
              <a:gd name="connsiteY2" fmla="*/ 88130 h 103274"/>
              <a:gd name="connsiteX3" fmla="*/ 15145 w 103346"/>
              <a:gd name="connsiteY3" fmla="*/ 15073 h 103274"/>
              <a:gd name="connsiteX4" fmla="*/ 88201 w 103346"/>
              <a:gd name="connsiteY4" fmla="*/ 15073 h 103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3346" h="103274">
                <a:moveTo>
                  <a:pt x="88201" y="15073"/>
                </a:moveTo>
                <a:cubicBezTo>
                  <a:pt x="108395" y="35266"/>
                  <a:pt x="108395" y="67937"/>
                  <a:pt x="88201" y="88130"/>
                </a:cubicBezTo>
                <a:cubicBezTo>
                  <a:pt x="68009" y="108323"/>
                  <a:pt x="35338" y="108323"/>
                  <a:pt x="15145" y="88130"/>
                </a:cubicBezTo>
                <a:cubicBezTo>
                  <a:pt x="-5048" y="67937"/>
                  <a:pt x="-5048" y="35266"/>
                  <a:pt x="15145" y="15073"/>
                </a:cubicBezTo>
                <a:cubicBezTo>
                  <a:pt x="35242" y="-5024"/>
                  <a:pt x="68009" y="-5024"/>
                  <a:pt x="88201" y="15073"/>
                </a:cubicBezTo>
                <a:close/>
              </a:path>
            </a:pathLst>
          </a:custGeom>
          <a:solidFill>
            <a:srgbClr val="FFFFFF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FF912A1-C78F-2F1A-AE5A-02A7331489AD}"/>
              </a:ext>
            </a:extLst>
          </p:cNvPr>
          <p:cNvSpPr/>
          <p:nvPr userDrawn="1"/>
        </p:nvSpPr>
        <p:spPr>
          <a:xfrm>
            <a:off x="5448539" y="3258839"/>
            <a:ext cx="120078" cy="120023"/>
          </a:xfrm>
          <a:custGeom>
            <a:avLst/>
            <a:gdLst>
              <a:gd name="connsiteX0" fmla="*/ 108918 w 127563"/>
              <a:gd name="connsiteY0" fmla="*/ 18657 h 127504"/>
              <a:gd name="connsiteX1" fmla="*/ 108918 w 127563"/>
              <a:gd name="connsiteY1" fmla="*/ 108859 h 127504"/>
              <a:gd name="connsiteX2" fmla="*/ 18717 w 127563"/>
              <a:gd name="connsiteY2" fmla="*/ 108859 h 127504"/>
              <a:gd name="connsiteX3" fmla="*/ 18717 w 127563"/>
              <a:gd name="connsiteY3" fmla="*/ 18562 h 127504"/>
              <a:gd name="connsiteX4" fmla="*/ 108918 w 127563"/>
              <a:gd name="connsiteY4" fmla="*/ 18657 h 127504"/>
              <a:gd name="connsiteX5" fmla="*/ 35862 w 127563"/>
              <a:gd name="connsiteY5" fmla="*/ 91714 h 127504"/>
              <a:gd name="connsiteX6" fmla="*/ 63770 w 127563"/>
              <a:gd name="connsiteY6" fmla="*/ 103334 h 127504"/>
              <a:gd name="connsiteX7" fmla="*/ 91678 w 127563"/>
              <a:gd name="connsiteY7" fmla="*/ 91714 h 127504"/>
              <a:gd name="connsiteX8" fmla="*/ 91678 w 127563"/>
              <a:gd name="connsiteY8" fmla="*/ 35897 h 127504"/>
              <a:gd name="connsiteX9" fmla="*/ 35862 w 127563"/>
              <a:gd name="connsiteY9" fmla="*/ 35897 h 127504"/>
              <a:gd name="connsiteX10" fmla="*/ 35862 w 127563"/>
              <a:gd name="connsiteY10" fmla="*/ 91714 h 127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7563" h="127504">
                <a:moveTo>
                  <a:pt x="108918" y="18657"/>
                </a:moveTo>
                <a:cubicBezTo>
                  <a:pt x="133779" y="43517"/>
                  <a:pt x="133779" y="83999"/>
                  <a:pt x="108918" y="108859"/>
                </a:cubicBezTo>
                <a:cubicBezTo>
                  <a:pt x="84058" y="133719"/>
                  <a:pt x="43577" y="133719"/>
                  <a:pt x="18717" y="108859"/>
                </a:cubicBezTo>
                <a:cubicBezTo>
                  <a:pt x="-6239" y="83903"/>
                  <a:pt x="-6239" y="43422"/>
                  <a:pt x="18717" y="18562"/>
                </a:cubicBezTo>
                <a:cubicBezTo>
                  <a:pt x="43577" y="-6203"/>
                  <a:pt x="84058" y="-6203"/>
                  <a:pt x="108918" y="18657"/>
                </a:cubicBezTo>
                <a:close/>
                <a:moveTo>
                  <a:pt x="35862" y="91714"/>
                </a:moveTo>
                <a:cubicBezTo>
                  <a:pt x="43291" y="99143"/>
                  <a:pt x="53197" y="103334"/>
                  <a:pt x="63770" y="103334"/>
                </a:cubicBezTo>
                <a:cubicBezTo>
                  <a:pt x="74247" y="103334"/>
                  <a:pt x="84249" y="99239"/>
                  <a:pt x="91678" y="91714"/>
                </a:cubicBezTo>
                <a:cubicBezTo>
                  <a:pt x="107109" y="76283"/>
                  <a:pt x="107109" y="51233"/>
                  <a:pt x="91678" y="35897"/>
                </a:cubicBezTo>
                <a:cubicBezTo>
                  <a:pt x="76248" y="20467"/>
                  <a:pt x="51197" y="20467"/>
                  <a:pt x="35862" y="35897"/>
                </a:cubicBezTo>
                <a:cubicBezTo>
                  <a:pt x="20431" y="51233"/>
                  <a:pt x="20526" y="76283"/>
                  <a:pt x="35862" y="91714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62E63083-4B90-58CD-6C85-8988A05E30AD}"/>
              </a:ext>
            </a:extLst>
          </p:cNvPr>
          <p:cNvSpPr/>
          <p:nvPr userDrawn="1"/>
        </p:nvSpPr>
        <p:spPr>
          <a:xfrm>
            <a:off x="5294188" y="3104432"/>
            <a:ext cx="173405" cy="173494"/>
          </a:xfrm>
          <a:custGeom>
            <a:avLst/>
            <a:gdLst>
              <a:gd name="connsiteX0" fmla="*/ 184214 w 184213"/>
              <a:gd name="connsiteY0" fmla="*/ 56864 h 184308"/>
              <a:gd name="connsiteX1" fmla="*/ 95822 w 184213"/>
              <a:gd name="connsiteY1" fmla="*/ 95822 h 184308"/>
              <a:gd name="connsiteX2" fmla="*/ 56769 w 184213"/>
              <a:gd name="connsiteY2" fmla="*/ 184309 h 184308"/>
              <a:gd name="connsiteX3" fmla="*/ 0 w 184213"/>
              <a:gd name="connsiteY3" fmla="*/ 0 h 184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4213" h="184308">
                <a:moveTo>
                  <a:pt x="184214" y="56864"/>
                </a:moveTo>
                <a:lnTo>
                  <a:pt x="95822" y="95822"/>
                </a:lnTo>
                <a:lnTo>
                  <a:pt x="56769" y="18430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44A7714D-9853-5561-D474-137140AB93C9}"/>
              </a:ext>
            </a:extLst>
          </p:cNvPr>
          <p:cNvSpPr/>
          <p:nvPr userDrawn="1"/>
        </p:nvSpPr>
        <p:spPr>
          <a:xfrm rot="18900000">
            <a:off x="6778083" y="4521729"/>
            <a:ext cx="57293" cy="205233"/>
          </a:xfrm>
          <a:custGeom>
            <a:avLst/>
            <a:gdLst>
              <a:gd name="connsiteX0" fmla="*/ 0 w 60864"/>
              <a:gd name="connsiteY0" fmla="*/ 0 h 218025"/>
              <a:gd name="connsiteX1" fmla="*/ 60864 w 60864"/>
              <a:gd name="connsiteY1" fmla="*/ 0 h 218025"/>
              <a:gd name="connsiteX2" fmla="*/ 60864 w 60864"/>
              <a:gd name="connsiteY2" fmla="*/ 218025 h 218025"/>
              <a:gd name="connsiteX3" fmla="*/ 0 w 60864"/>
              <a:gd name="connsiteY3" fmla="*/ 218025 h 218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864" h="218025">
                <a:moveTo>
                  <a:pt x="0" y="0"/>
                </a:moveTo>
                <a:lnTo>
                  <a:pt x="60864" y="0"/>
                </a:lnTo>
                <a:lnTo>
                  <a:pt x="60864" y="218025"/>
                </a:lnTo>
                <a:lnTo>
                  <a:pt x="0" y="218025"/>
                </a:lnTo>
                <a:close/>
              </a:path>
            </a:pathLst>
          </a:cu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562CCB01-4B5E-B939-A8B8-DDC696FA4020}"/>
              </a:ext>
            </a:extLst>
          </p:cNvPr>
          <p:cNvSpPr/>
          <p:nvPr userDrawn="1"/>
        </p:nvSpPr>
        <p:spPr>
          <a:xfrm>
            <a:off x="6685464" y="4503062"/>
            <a:ext cx="97283" cy="97316"/>
          </a:xfrm>
          <a:custGeom>
            <a:avLst/>
            <a:gdLst>
              <a:gd name="connsiteX0" fmla="*/ 15145 w 103346"/>
              <a:gd name="connsiteY0" fmla="*/ 88201 h 103381"/>
              <a:gd name="connsiteX1" fmla="*/ 15145 w 103346"/>
              <a:gd name="connsiteY1" fmla="*/ 15145 h 103381"/>
              <a:gd name="connsiteX2" fmla="*/ 88201 w 103346"/>
              <a:gd name="connsiteY2" fmla="*/ 15145 h 103381"/>
              <a:gd name="connsiteX3" fmla="*/ 88201 w 103346"/>
              <a:gd name="connsiteY3" fmla="*/ 88201 h 103381"/>
              <a:gd name="connsiteX4" fmla="*/ 15145 w 103346"/>
              <a:gd name="connsiteY4" fmla="*/ 88201 h 103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3346" h="103381">
                <a:moveTo>
                  <a:pt x="15145" y="88201"/>
                </a:moveTo>
                <a:cubicBezTo>
                  <a:pt x="-5048" y="68008"/>
                  <a:pt x="-5048" y="35338"/>
                  <a:pt x="15145" y="15145"/>
                </a:cubicBezTo>
                <a:cubicBezTo>
                  <a:pt x="35338" y="-5048"/>
                  <a:pt x="68008" y="-5048"/>
                  <a:pt x="88201" y="15145"/>
                </a:cubicBezTo>
                <a:cubicBezTo>
                  <a:pt x="108394" y="35338"/>
                  <a:pt x="108394" y="68008"/>
                  <a:pt x="88201" y="88201"/>
                </a:cubicBezTo>
                <a:cubicBezTo>
                  <a:pt x="68104" y="108490"/>
                  <a:pt x="35338" y="108395"/>
                  <a:pt x="15145" y="88201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3391ADCC-9FEE-879E-F139-5C5032AA2D3F}"/>
              </a:ext>
            </a:extLst>
          </p:cNvPr>
          <p:cNvSpPr/>
          <p:nvPr userDrawn="1"/>
        </p:nvSpPr>
        <p:spPr>
          <a:xfrm>
            <a:off x="6674099" y="4491787"/>
            <a:ext cx="120078" cy="120023"/>
          </a:xfrm>
          <a:custGeom>
            <a:avLst/>
            <a:gdLst>
              <a:gd name="connsiteX0" fmla="*/ 18645 w 127563"/>
              <a:gd name="connsiteY0" fmla="*/ 108847 h 127504"/>
              <a:gd name="connsiteX1" fmla="*/ 18645 w 127563"/>
              <a:gd name="connsiteY1" fmla="*/ 18645 h 127504"/>
              <a:gd name="connsiteX2" fmla="*/ 108847 w 127563"/>
              <a:gd name="connsiteY2" fmla="*/ 18645 h 127504"/>
              <a:gd name="connsiteX3" fmla="*/ 108847 w 127563"/>
              <a:gd name="connsiteY3" fmla="*/ 108942 h 127504"/>
              <a:gd name="connsiteX4" fmla="*/ 18645 w 127563"/>
              <a:gd name="connsiteY4" fmla="*/ 108847 h 127504"/>
              <a:gd name="connsiteX5" fmla="*/ 91702 w 127563"/>
              <a:gd name="connsiteY5" fmla="*/ 35790 h 127504"/>
              <a:gd name="connsiteX6" fmla="*/ 63794 w 127563"/>
              <a:gd name="connsiteY6" fmla="*/ 24170 h 127504"/>
              <a:gd name="connsiteX7" fmla="*/ 35885 w 127563"/>
              <a:gd name="connsiteY7" fmla="*/ 35790 h 127504"/>
              <a:gd name="connsiteX8" fmla="*/ 35885 w 127563"/>
              <a:gd name="connsiteY8" fmla="*/ 91607 h 127504"/>
              <a:gd name="connsiteX9" fmla="*/ 91797 w 127563"/>
              <a:gd name="connsiteY9" fmla="*/ 91607 h 127504"/>
              <a:gd name="connsiteX10" fmla="*/ 91702 w 127563"/>
              <a:gd name="connsiteY10" fmla="*/ 35790 h 127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7563" h="127504">
                <a:moveTo>
                  <a:pt x="18645" y="108847"/>
                </a:moveTo>
                <a:cubicBezTo>
                  <a:pt x="-6215" y="83987"/>
                  <a:pt x="-6215" y="43505"/>
                  <a:pt x="18645" y="18645"/>
                </a:cubicBezTo>
                <a:cubicBezTo>
                  <a:pt x="43601" y="-6215"/>
                  <a:pt x="84082" y="-6215"/>
                  <a:pt x="108847" y="18645"/>
                </a:cubicBezTo>
                <a:cubicBezTo>
                  <a:pt x="133802" y="43505"/>
                  <a:pt x="133802" y="84082"/>
                  <a:pt x="108847" y="108942"/>
                </a:cubicBezTo>
                <a:cubicBezTo>
                  <a:pt x="83987" y="133707"/>
                  <a:pt x="43505" y="133707"/>
                  <a:pt x="18645" y="108847"/>
                </a:cubicBezTo>
                <a:close/>
                <a:moveTo>
                  <a:pt x="91702" y="35790"/>
                </a:moveTo>
                <a:cubicBezTo>
                  <a:pt x="84272" y="28361"/>
                  <a:pt x="74366" y="24170"/>
                  <a:pt x="63794" y="24170"/>
                </a:cubicBezTo>
                <a:cubicBezTo>
                  <a:pt x="53316" y="24170"/>
                  <a:pt x="43315" y="28266"/>
                  <a:pt x="35885" y="35790"/>
                </a:cubicBezTo>
                <a:cubicBezTo>
                  <a:pt x="20455" y="51221"/>
                  <a:pt x="20550" y="76271"/>
                  <a:pt x="35885" y="91607"/>
                </a:cubicBezTo>
                <a:cubicBezTo>
                  <a:pt x="51316" y="106942"/>
                  <a:pt x="76367" y="107037"/>
                  <a:pt x="91797" y="91607"/>
                </a:cubicBezTo>
                <a:cubicBezTo>
                  <a:pt x="107132" y="76271"/>
                  <a:pt x="107037" y="51221"/>
                  <a:pt x="91702" y="35790"/>
                </a:cubicBezTo>
                <a:close/>
              </a:path>
            </a:pathLst>
          </a:cu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8155BC99-2E0E-6B4C-2C9C-317220BBFBF6}"/>
              </a:ext>
            </a:extLst>
          </p:cNvPr>
          <p:cNvSpPr/>
          <p:nvPr userDrawn="1"/>
        </p:nvSpPr>
        <p:spPr>
          <a:xfrm>
            <a:off x="6775125" y="4592724"/>
            <a:ext cx="173405" cy="173494"/>
          </a:xfrm>
          <a:custGeom>
            <a:avLst/>
            <a:gdLst>
              <a:gd name="connsiteX0" fmla="*/ 0 w 184213"/>
              <a:gd name="connsiteY0" fmla="*/ 127445 h 184308"/>
              <a:gd name="connsiteX1" fmla="*/ 88392 w 184213"/>
              <a:gd name="connsiteY1" fmla="*/ 88487 h 184308"/>
              <a:gd name="connsiteX2" fmla="*/ 127444 w 184213"/>
              <a:gd name="connsiteY2" fmla="*/ 0 h 184308"/>
              <a:gd name="connsiteX3" fmla="*/ 184213 w 184213"/>
              <a:gd name="connsiteY3" fmla="*/ 184309 h 184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4213" h="184308">
                <a:moveTo>
                  <a:pt x="0" y="127445"/>
                </a:moveTo>
                <a:lnTo>
                  <a:pt x="88392" y="88487"/>
                </a:lnTo>
                <a:lnTo>
                  <a:pt x="127444" y="0"/>
                </a:lnTo>
                <a:lnTo>
                  <a:pt x="184213" y="184309"/>
                </a:lnTo>
                <a:close/>
              </a:path>
            </a:pathLst>
          </a:cu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78CE3E02-4444-C07D-DD8F-F5D7C40B378D}"/>
              </a:ext>
            </a:extLst>
          </p:cNvPr>
          <p:cNvSpPr/>
          <p:nvPr userDrawn="1"/>
        </p:nvSpPr>
        <p:spPr>
          <a:xfrm rot="18900000">
            <a:off x="5329791" y="4591973"/>
            <a:ext cx="205233" cy="57293"/>
          </a:xfrm>
          <a:custGeom>
            <a:avLst/>
            <a:gdLst>
              <a:gd name="connsiteX0" fmla="*/ 0 w 218025"/>
              <a:gd name="connsiteY0" fmla="*/ 0 h 60864"/>
              <a:gd name="connsiteX1" fmla="*/ 218025 w 218025"/>
              <a:gd name="connsiteY1" fmla="*/ 0 h 60864"/>
              <a:gd name="connsiteX2" fmla="*/ 218025 w 218025"/>
              <a:gd name="connsiteY2" fmla="*/ 60864 h 60864"/>
              <a:gd name="connsiteX3" fmla="*/ 0 w 218025"/>
              <a:gd name="connsiteY3" fmla="*/ 60864 h 60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025" h="60864">
                <a:moveTo>
                  <a:pt x="0" y="0"/>
                </a:moveTo>
                <a:lnTo>
                  <a:pt x="218025" y="0"/>
                </a:lnTo>
                <a:lnTo>
                  <a:pt x="218025" y="60864"/>
                </a:lnTo>
                <a:lnTo>
                  <a:pt x="0" y="60864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B07FE070-3561-C96C-0D01-783F25CBC692}"/>
              </a:ext>
            </a:extLst>
          </p:cNvPr>
          <p:cNvSpPr/>
          <p:nvPr userDrawn="1"/>
        </p:nvSpPr>
        <p:spPr>
          <a:xfrm>
            <a:off x="5456284" y="4499476"/>
            <a:ext cx="97203" cy="97204"/>
          </a:xfrm>
          <a:custGeom>
            <a:avLst/>
            <a:gdLst>
              <a:gd name="connsiteX0" fmla="*/ 15157 w 103262"/>
              <a:gd name="connsiteY0" fmla="*/ 15145 h 103262"/>
              <a:gd name="connsiteX1" fmla="*/ 88118 w 103262"/>
              <a:gd name="connsiteY1" fmla="*/ 15145 h 103262"/>
              <a:gd name="connsiteX2" fmla="*/ 88118 w 103262"/>
              <a:gd name="connsiteY2" fmla="*/ 88106 h 103262"/>
              <a:gd name="connsiteX3" fmla="*/ 15061 w 103262"/>
              <a:gd name="connsiteY3" fmla="*/ 88201 h 103262"/>
              <a:gd name="connsiteX4" fmla="*/ 15157 w 103262"/>
              <a:gd name="connsiteY4" fmla="*/ 15145 h 103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3262" h="103262">
                <a:moveTo>
                  <a:pt x="15157" y="15145"/>
                </a:moveTo>
                <a:cubicBezTo>
                  <a:pt x="35350" y="-5048"/>
                  <a:pt x="68020" y="-5048"/>
                  <a:pt x="88118" y="15145"/>
                </a:cubicBezTo>
                <a:cubicBezTo>
                  <a:pt x="108311" y="35338"/>
                  <a:pt x="108311" y="68008"/>
                  <a:pt x="88118" y="88106"/>
                </a:cubicBezTo>
                <a:cubicBezTo>
                  <a:pt x="67925" y="108299"/>
                  <a:pt x="35254" y="108299"/>
                  <a:pt x="15061" y="88201"/>
                </a:cubicBezTo>
                <a:cubicBezTo>
                  <a:pt x="-5036" y="68008"/>
                  <a:pt x="-5036" y="35338"/>
                  <a:pt x="15157" y="15145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8DD0F630-0B6E-3E09-FC01-04E6A42EE498}"/>
              </a:ext>
            </a:extLst>
          </p:cNvPr>
          <p:cNvSpPr/>
          <p:nvPr userDrawn="1"/>
        </p:nvSpPr>
        <p:spPr>
          <a:xfrm>
            <a:off x="5444852" y="4488022"/>
            <a:ext cx="120090" cy="120079"/>
          </a:xfrm>
          <a:custGeom>
            <a:avLst/>
            <a:gdLst>
              <a:gd name="connsiteX0" fmla="*/ 18729 w 127575"/>
              <a:gd name="connsiteY0" fmla="*/ 18645 h 127563"/>
              <a:gd name="connsiteX1" fmla="*/ 108930 w 127575"/>
              <a:gd name="connsiteY1" fmla="*/ 18645 h 127563"/>
              <a:gd name="connsiteX2" fmla="*/ 108930 w 127575"/>
              <a:gd name="connsiteY2" fmla="*/ 108847 h 127563"/>
              <a:gd name="connsiteX3" fmla="*/ 18633 w 127575"/>
              <a:gd name="connsiteY3" fmla="*/ 108847 h 127563"/>
              <a:gd name="connsiteX4" fmla="*/ 18729 w 127575"/>
              <a:gd name="connsiteY4" fmla="*/ 18645 h 127563"/>
              <a:gd name="connsiteX5" fmla="*/ 91690 w 127575"/>
              <a:gd name="connsiteY5" fmla="*/ 91702 h 127563"/>
              <a:gd name="connsiteX6" fmla="*/ 103311 w 127575"/>
              <a:gd name="connsiteY6" fmla="*/ 63794 h 127563"/>
              <a:gd name="connsiteX7" fmla="*/ 91690 w 127575"/>
              <a:gd name="connsiteY7" fmla="*/ 35885 h 127563"/>
              <a:gd name="connsiteX8" fmla="*/ 35874 w 127575"/>
              <a:gd name="connsiteY8" fmla="*/ 35885 h 127563"/>
              <a:gd name="connsiteX9" fmla="*/ 35874 w 127575"/>
              <a:gd name="connsiteY9" fmla="*/ 91797 h 127563"/>
              <a:gd name="connsiteX10" fmla="*/ 91690 w 127575"/>
              <a:gd name="connsiteY10" fmla="*/ 91702 h 1275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7575" h="127563">
                <a:moveTo>
                  <a:pt x="18729" y="18645"/>
                </a:moveTo>
                <a:cubicBezTo>
                  <a:pt x="43589" y="-6215"/>
                  <a:pt x="84070" y="-6215"/>
                  <a:pt x="108930" y="18645"/>
                </a:cubicBezTo>
                <a:cubicBezTo>
                  <a:pt x="133791" y="43505"/>
                  <a:pt x="133791" y="83987"/>
                  <a:pt x="108930" y="108847"/>
                </a:cubicBezTo>
                <a:cubicBezTo>
                  <a:pt x="83975" y="133802"/>
                  <a:pt x="43494" y="133802"/>
                  <a:pt x="18633" y="108847"/>
                </a:cubicBezTo>
                <a:cubicBezTo>
                  <a:pt x="-6227" y="84082"/>
                  <a:pt x="-6227" y="43601"/>
                  <a:pt x="18729" y="18645"/>
                </a:cubicBezTo>
                <a:close/>
                <a:moveTo>
                  <a:pt x="91690" y="91702"/>
                </a:moveTo>
                <a:cubicBezTo>
                  <a:pt x="99120" y="84272"/>
                  <a:pt x="103311" y="74367"/>
                  <a:pt x="103311" y="63794"/>
                </a:cubicBezTo>
                <a:cubicBezTo>
                  <a:pt x="103311" y="53316"/>
                  <a:pt x="99215" y="43315"/>
                  <a:pt x="91690" y="35885"/>
                </a:cubicBezTo>
                <a:cubicBezTo>
                  <a:pt x="76260" y="20455"/>
                  <a:pt x="51209" y="20455"/>
                  <a:pt x="35874" y="35885"/>
                </a:cubicBezTo>
                <a:cubicBezTo>
                  <a:pt x="20443" y="51316"/>
                  <a:pt x="20443" y="76367"/>
                  <a:pt x="35874" y="91797"/>
                </a:cubicBezTo>
                <a:cubicBezTo>
                  <a:pt x="51304" y="107133"/>
                  <a:pt x="76355" y="107133"/>
                  <a:pt x="91690" y="91702"/>
                </a:cubicBez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62219A04-B16D-7940-32E9-E80EA4F6EABB}"/>
              </a:ext>
            </a:extLst>
          </p:cNvPr>
          <p:cNvSpPr/>
          <p:nvPr userDrawn="1"/>
        </p:nvSpPr>
        <p:spPr>
          <a:xfrm>
            <a:off x="5290511" y="4589138"/>
            <a:ext cx="173405" cy="173405"/>
          </a:xfrm>
          <a:custGeom>
            <a:avLst/>
            <a:gdLst>
              <a:gd name="connsiteX0" fmla="*/ 56769 w 184213"/>
              <a:gd name="connsiteY0" fmla="*/ 0 h 184213"/>
              <a:gd name="connsiteX1" fmla="*/ 95821 w 184213"/>
              <a:gd name="connsiteY1" fmla="*/ 88392 h 184213"/>
              <a:gd name="connsiteX2" fmla="*/ 184214 w 184213"/>
              <a:gd name="connsiteY2" fmla="*/ 127349 h 184213"/>
              <a:gd name="connsiteX3" fmla="*/ 0 w 184213"/>
              <a:gd name="connsiteY3" fmla="*/ 184213 h 184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4213" h="184213">
                <a:moveTo>
                  <a:pt x="56769" y="0"/>
                </a:moveTo>
                <a:lnTo>
                  <a:pt x="95821" y="88392"/>
                </a:lnTo>
                <a:lnTo>
                  <a:pt x="184214" y="127349"/>
                </a:lnTo>
                <a:lnTo>
                  <a:pt x="0" y="184213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4363E3D2-3473-9584-542B-D2B30801709C}"/>
              </a:ext>
            </a:extLst>
          </p:cNvPr>
          <p:cNvSpPr/>
          <p:nvPr userDrawn="1"/>
        </p:nvSpPr>
        <p:spPr>
          <a:xfrm rot="18900000">
            <a:off x="6707732" y="3221411"/>
            <a:ext cx="205233" cy="57293"/>
          </a:xfrm>
          <a:custGeom>
            <a:avLst/>
            <a:gdLst>
              <a:gd name="connsiteX0" fmla="*/ 0 w 218025"/>
              <a:gd name="connsiteY0" fmla="*/ 0 h 60864"/>
              <a:gd name="connsiteX1" fmla="*/ 218025 w 218025"/>
              <a:gd name="connsiteY1" fmla="*/ 0 h 60864"/>
              <a:gd name="connsiteX2" fmla="*/ 218025 w 218025"/>
              <a:gd name="connsiteY2" fmla="*/ 60864 h 60864"/>
              <a:gd name="connsiteX3" fmla="*/ 0 w 218025"/>
              <a:gd name="connsiteY3" fmla="*/ 60864 h 60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025" h="60864">
                <a:moveTo>
                  <a:pt x="0" y="0"/>
                </a:moveTo>
                <a:lnTo>
                  <a:pt x="218025" y="0"/>
                </a:lnTo>
                <a:lnTo>
                  <a:pt x="218025" y="60864"/>
                </a:lnTo>
                <a:lnTo>
                  <a:pt x="0" y="60864"/>
                </a:ln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C83069AC-F2DE-4FA5-B4EA-A186208F934E}"/>
              </a:ext>
            </a:extLst>
          </p:cNvPr>
          <p:cNvSpPr/>
          <p:nvPr userDrawn="1"/>
        </p:nvSpPr>
        <p:spPr>
          <a:xfrm>
            <a:off x="6689140" y="3273893"/>
            <a:ext cx="97283" cy="97283"/>
          </a:xfrm>
          <a:custGeom>
            <a:avLst/>
            <a:gdLst>
              <a:gd name="connsiteX0" fmla="*/ 88202 w 103346"/>
              <a:gd name="connsiteY0" fmla="*/ 88202 h 103346"/>
              <a:gd name="connsiteX1" fmla="*/ 15145 w 103346"/>
              <a:gd name="connsiteY1" fmla="*/ 88202 h 103346"/>
              <a:gd name="connsiteX2" fmla="*/ 15145 w 103346"/>
              <a:gd name="connsiteY2" fmla="*/ 15145 h 103346"/>
              <a:gd name="connsiteX3" fmla="*/ 88202 w 103346"/>
              <a:gd name="connsiteY3" fmla="*/ 15145 h 103346"/>
              <a:gd name="connsiteX4" fmla="*/ 88202 w 103346"/>
              <a:gd name="connsiteY4" fmla="*/ 88202 h 103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3346" h="103346">
                <a:moveTo>
                  <a:pt x="88202" y="88202"/>
                </a:moveTo>
                <a:cubicBezTo>
                  <a:pt x="68008" y="108395"/>
                  <a:pt x="35338" y="108395"/>
                  <a:pt x="15145" y="88202"/>
                </a:cubicBezTo>
                <a:cubicBezTo>
                  <a:pt x="-5048" y="68009"/>
                  <a:pt x="-5048" y="35338"/>
                  <a:pt x="15145" y="15145"/>
                </a:cubicBezTo>
                <a:cubicBezTo>
                  <a:pt x="35338" y="-5048"/>
                  <a:pt x="68008" y="-5048"/>
                  <a:pt x="88202" y="15145"/>
                </a:cubicBezTo>
                <a:cubicBezTo>
                  <a:pt x="108395" y="35338"/>
                  <a:pt x="108395" y="68009"/>
                  <a:pt x="88202" y="88202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9441FFEE-6D60-73C0-DEB9-8C3C6407283F}"/>
              </a:ext>
            </a:extLst>
          </p:cNvPr>
          <p:cNvSpPr/>
          <p:nvPr userDrawn="1"/>
        </p:nvSpPr>
        <p:spPr>
          <a:xfrm>
            <a:off x="6677775" y="3262550"/>
            <a:ext cx="120090" cy="120079"/>
          </a:xfrm>
          <a:custGeom>
            <a:avLst/>
            <a:gdLst>
              <a:gd name="connsiteX0" fmla="*/ 108847 w 127575"/>
              <a:gd name="connsiteY0" fmla="*/ 108918 h 127563"/>
              <a:gd name="connsiteX1" fmla="*/ 18645 w 127575"/>
              <a:gd name="connsiteY1" fmla="*/ 108918 h 127563"/>
              <a:gd name="connsiteX2" fmla="*/ 18645 w 127575"/>
              <a:gd name="connsiteY2" fmla="*/ 18717 h 127563"/>
              <a:gd name="connsiteX3" fmla="*/ 108942 w 127575"/>
              <a:gd name="connsiteY3" fmla="*/ 18717 h 127563"/>
              <a:gd name="connsiteX4" fmla="*/ 108847 w 127575"/>
              <a:gd name="connsiteY4" fmla="*/ 108918 h 127563"/>
              <a:gd name="connsiteX5" fmla="*/ 35790 w 127575"/>
              <a:gd name="connsiteY5" fmla="*/ 35862 h 127563"/>
              <a:gd name="connsiteX6" fmla="*/ 24170 w 127575"/>
              <a:gd name="connsiteY6" fmla="*/ 63770 h 127563"/>
              <a:gd name="connsiteX7" fmla="*/ 35790 w 127575"/>
              <a:gd name="connsiteY7" fmla="*/ 91678 h 127563"/>
              <a:gd name="connsiteX8" fmla="*/ 91607 w 127575"/>
              <a:gd name="connsiteY8" fmla="*/ 91678 h 127563"/>
              <a:gd name="connsiteX9" fmla="*/ 91607 w 127575"/>
              <a:gd name="connsiteY9" fmla="*/ 35766 h 127563"/>
              <a:gd name="connsiteX10" fmla="*/ 35790 w 127575"/>
              <a:gd name="connsiteY10" fmla="*/ 35862 h 1275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7575" h="127563">
                <a:moveTo>
                  <a:pt x="108847" y="108918"/>
                </a:moveTo>
                <a:cubicBezTo>
                  <a:pt x="83987" y="133779"/>
                  <a:pt x="43505" y="133779"/>
                  <a:pt x="18645" y="108918"/>
                </a:cubicBezTo>
                <a:cubicBezTo>
                  <a:pt x="-6215" y="84058"/>
                  <a:pt x="-6215" y="43577"/>
                  <a:pt x="18645" y="18717"/>
                </a:cubicBezTo>
                <a:cubicBezTo>
                  <a:pt x="43601" y="-6239"/>
                  <a:pt x="84082" y="-6239"/>
                  <a:pt x="108942" y="18717"/>
                </a:cubicBezTo>
                <a:cubicBezTo>
                  <a:pt x="133803" y="43482"/>
                  <a:pt x="133803" y="83963"/>
                  <a:pt x="108847" y="108918"/>
                </a:cubicBezTo>
                <a:close/>
                <a:moveTo>
                  <a:pt x="35790" y="35862"/>
                </a:moveTo>
                <a:cubicBezTo>
                  <a:pt x="28361" y="43291"/>
                  <a:pt x="24170" y="53197"/>
                  <a:pt x="24170" y="63770"/>
                </a:cubicBezTo>
                <a:cubicBezTo>
                  <a:pt x="24170" y="74247"/>
                  <a:pt x="28266" y="84249"/>
                  <a:pt x="35790" y="91678"/>
                </a:cubicBezTo>
                <a:cubicBezTo>
                  <a:pt x="51221" y="107109"/>
                  <a:pt x="76271" y="107013"/>
                  <a:pt x="91607" y="91678"/>
                </a:cubicBezTo>
                <a:cubicBezTo>
                  <a:pt x="107037" y="76248"/>
                  <a:pt x="107037" y="51197"/>
                  <a:pt x="91607" y="35766"/>
                </a:cubicBezTo>
                <a:cubicBezTo>
                  <a:pt x="76271" y="20431"/>
                  <a:pt x="51221" y="20431"/>
                  <a:pt x="35790" y="35862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37638F5A-F400-21B6-9494-2711220A9E4E}"/>
              </a:ext>
            </a:extLst>
          </p:cNvPr>
          <p:cNvSpPr/>
          <p:nvPr userDrawn="1"/>
        </p:nvSpPr>
        <p:spPr>
          <a:xfrm>
            <a:off x="6778801" y="3108108"/>
            <a:ext cx="173405" cy="173405"/>
          </a:xfrm>
          <a:custGeom>
            <a:avLst/>
            <a:gdLst>
              <a:gd name="connsiteX0" fmla="*/ 127349 w 184213"/>
              <a:gd name="connsiteY0" fmla="*/ 184214 h 184213"/>
              <a:gd name="connsiteX1" fmla="*/ 88392 w 184213"/>
              <a:gd name="connsiteY1" fmla="*/ 95822 h 184213"/>
              <a:gd name="connsiteX2" fmla="*/ 0 w 184213"/>
              <a:gd name="connsiteY2" fmla="*/ 56769 h 184213"/>
              <a:gd name="connsiteX3" fmla="*/ 184214 w 184213"/>
              <a:gd name="connsiteY3" fmla="*/ 0 h 184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4213" h="184213">
                <a:moveTo>
                  <a:pt x="127349" y="184214"/>
                </a:moveTo>
                <a:lnTo>
                  <a:pt x="88392" y="95822"/>
                </a:lnTo>
                <a:lnTo>
                  <a:pt x="0" y="56769"/>
                </a:lnTo>
                <a:lnTo>
                  <a:pt x="184214" y="0"/>
                </a:ln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7" name="Graphic 36">
            <a:extLst>
              <a:ext uri="{FF2B5EF4-FFF2-40B4-BE49-F238E27FC236}">
                <a16:creationId xmlns:a16="http://schemas.microsoft.com/office/drawing/2014/main" id="{FD91FA5C-9873-64F6-E001-50977D9EA64B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2709990" y="2356543"/>
            <a:ext cx="434391" cy="434391"/>
          </a:xfrm>
          <a:prstGeom prst="rect">
            <a:avLst/>
          </a:prstGeom>
        </p:spPr>
      </p:pic>
      <p:pic>
        <p:nvPicPr>
          <p:cNvPr id="38" name="Graphic 37">
            <a:extLst>
              <a:ext uri="{FF2B5EF4-FFF2-40B4-BE49-F238E27FC236}">
                <a16:creationId xmlns:a16="http://schemas.microsoft.com/office/drawing/2014/main" id="{A040BB2E-BECB-4E94-995C-1B34B94D25D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87869" y="3959653"/>
            <a:ext cx="609600" cy="609600"/>
          </a:xfrm>
          <a:prstGeom prst="rect">
            <a:avLst/>
          </a:prstGeom>
        </p:spPr>
      </p:pic>
      <p:pic>
        <p:nvPicPr>
          <p:cNvPr id="39" name="Graphic 38">
            <a:extLst>
              <a:ext uri="{FF2B5EF4-FFF2-40B4-BE49-F238E27FC236}">
                <a16:creationId xmlns:a16="http://schemas.microsoft.com/office/drawing/2014/main" id="{11434E30-71AB-B7A6-1759-4A187A68F1E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681235" y="4034465"/>
            <a:ext cx="501521" cy="501521"/>
          </a:xfrm>
          <a:prstGeom prst="rect">
            <a:avLst/>
          </a:prstGeom>
        </p:spPr>
      </p:pic>
      <p:pic>
        <p:nvPicPr>
          <p:cNvPr id="40" name="Graphic 39">
            <a:extLst>
              <a:ext uri="{FF2B5EF4-FFF2-40B4-BE49-F238E27FC236}">
                <a16:creationId xmlns:a16="http://schemas.microsoft.com/office/drawing/2014/main" id="{41B8B0F1-2BA8-7CAF-EC87-5EA8C6BE077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986148" y="2250257"/>
            <a:ext cx="536889" cy="536889"/>
          </a:xfrm>
          <a:prstGeom prst="rect">
            <a:avLst/>
          </a:prstGeom>
        </p:spPr>
      </p:pic>
      <p:sp>
        <p:nvSpPr>
          <p:cNvPr id="55" name="Title 43">
            <a:extLst>
              <a:ext uri="{FF2B5EF4-FFF2-40B4-BE49-F238E27FC236}">
                <a16:creationId xmlns:a16="http://schemas.microsoft.com/office/drawing/2014/main" id="{06FD54F9-2FDB-135C-4948-9205D62A80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53" y="399899"/>
            <a:ext cx="11400896" cy="864810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61" name="Text Placeholder 60">
            <a:extLst>
              <a:ext uri="{FF2B5EF4-FFF2-40B4-BE49-F238E27FC236}">
                <a16:creationId xmlns:a16="http://schemas.microsoft.com/office/drawing/2014/main" id="{99D30DED-4623-FCBC-E84C-9574805741C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16019" y="2760672"/>
            <a:ext cx="2405063" cy="3042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33" b="1">
                <a:solidFill>
                  <a:schemeClr val="accent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63" name="Text Placeholder 62">
            <a:extLst>
              <a:ext uri="{FF2B5EF4-FFF2-40B4-BE49-F238E27FC236}">
                <a16:creationId xmlns:a16="http://schemas.microsoft.com/office/drawing/2014/main" id="{13456B0A-F589-CB73-B3B0-59B4B1935F0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01857" y="3086219"/>
            <a:ext cx="2520157" cy="619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/>
            </a:lvl1pPr>
          </a:lstStyle>
          <a:p>
            <a:pPr lvl="0"/>
            <a:endParaRPr lang="en-GB"/>
          </a:p>
        </p:txBody>
      </p:sp>
      <p:sp>
        <p:nvSpPr>
          <p:cNvPr id="64" name="Text Placeholder 60">
            <a:extLst>
              <a:ext uri="{FF2B5EF4-FFF2-40B4-BE49-F238E27FC236}">
                <a16:creationId xmlns:a16="http://schemas.microsoft.com/office/drawing/2014/main" id="{BA21B5B5-81F7-75EC-49F0-031794173D1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076948" y="2781949"/>
            <a:ext cx="2405063" cy="3042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33" b="1">
                <a:solidFill>
                  <a:schemeClr val="accent2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65" name="Text Placeholder 62">
            <a:extLst>
              <a:ext uri="{FF2B5EF4-FFF2-40B4-BE49-F238E27FC236}">
                <a16:creationId xmlns:a16="http://schemas.microsoft.com/office/drawing/2014/main" id="{20B1D85A-055E-5B84-EC4C-25410943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066185" y="3104432"/>
            <a:ext cx="2520157" cy="619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/>
            </a:lvl1pPr>
          </a:lstStyle>
          <a:p>
            <a:pPr lvl="0"/>
            <a:endParaRPr lang="en-GB"/>
          </a:p>
        </p:txBody>
      </p:sp>
      <p:sp>
        <p:nvSpPr>
          <p:cNvPr id="66" name="Text Placeholder 60">
            <a:extLst>
              <a:ext uri="{FF2B5EF4-FFF2-40B4-BE49-F238E27FC236}">
                <a16:creationId xmlns:a16="http://schemas.microsoft.com/office/drawing/2014/main" id="{CA9957F8-9B43-DA0D-75CE-D5BBB0BFD32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605961" y="4499476"/>
            <a:ext cx="2405063" cy="3042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33" b="1">
                <a:solidFill>
                  <a:schemeClr val="accent3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67" name="Text Placeholder 62">
            <a:extLst>
              <a:ext uri="{FF2B5EF4-FFF2-40B4-BE49-F238E27FC236}">
                <a16:creationId xmlns:a16="http://schemas.microsoft.com/office/drawing/2014/main" id="{D63154F1-19E7-717C-A68E-D1026718D25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593574" y="4803747"/>
            <a:ext cx="2520157" cy="619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/>
            </a:lvl1pPr>
          </a:lstStyle>
          <a:p>
            <a:pPr lvl="0"/>
            <a:endParaRPr lang="en-GB"/>
          </a:p>
        </p:txBody>
      </p:sp>
      <p:sp>
        <p:nvSpPr>
          <p:cNvPr id="68" name="Text Placeholder 60">
            <a:extLst>
              <a:ext uri="{FF2B5EF4-FFF2-40B4-BE49-F238E27FC236}">
                <a16:creationId xmlns:a16="http://schemas.microsoft.com/office/drawing/2014/main" id="{2CC652B4-7FE7-5BB2-62E8-A11FB15E81B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069017" y="4474733"/>
            <a:ext cx="2405063" cy="3042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33" b="1">
                <a:solidFill>
                  <a:schemeClr val="accent4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69" name="Text Placeholder 62">
            <a:extLst>
              <a:ext uri="{FF2B5EF4-FFF2-40B4-BE49-F238E27FC236}">
                <a16:creationId xmlns:a16="http://schemas.microsoft.com/office/drawing/2014/main" id="{3ACBDF4E-4205-0108-4BD6-0F082133002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057244" y="4778575"/>
            <a:ext cx="2520157" cy="619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/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626030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 2_edi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472A2E8-8AB3-6043-3CE2-4EE4530765E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2709334" y="2241145"/>
            <a:ext cx="505271" cy="5052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33"/>
            </a:lvl1pPr>
          </a:lstStyle>
          <a:p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69BB38A-ADD2-117F-9439-9B256EC68A1A}"/>
              </a:ext>
            </a:extLst>
          </p:cNvPr>
          <p:cNvCxnSpPr>
            <a:cxnSpLocks/>
          </p:cNvCxnSpPr>
          <p:nvPr userDrawn="1"/>
        </p:nvCxnSpPr>
        <p:spPr>
          <a:xfrm>
            <a:off x="6121720" y="2319421"/>
            <a:ext cx="0" cy="3288632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9962BCB-1882-AA4B-27C3-7865B0CE1D0E}"/>
              </a:ext>
            </a:extLst>
          </p:cNvPr>
          <p:cNvCxnSpPr>
            <a:cxnSpLocks/>
          </p:cNvCxnSpPr>
          <p:nvPr userDrawn="1"/>
        </p:nvCxnSpPr>
        <p:spPr>
          <a:xfrm>
            <a:off x="2660573" y="3933500"/>
            <a:ext cx="689810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reeform: Shape 10">
            <a:extLst>
              <a:ext uri="{FF2B5EF4-FFF2-40B4-BE49-F238E27FC236}">
                <a16:creationId xmlns:a16="http://schemas.microsoft.com/office/drawing/2014/main" id="{BC9A416A-32CF-25C8-509F-BBE9E0CC124E}"/>
              </a:ext>
            </a:extLst>
          </p:cNvPr>
          <p:cNvSpPr/>
          <p:nvPr userDrawn="1"/>
        </p:nvSpPr>
        <p:spPr>
          <a:xfrm>
            <a:off x="5396850" y="3203289"/>
            <a:ext cx="725899" cy="725899"/>
          </a:xfrm>
          <a:custGeom>
            <a:avLst/>
            <a:gdLst>
              <a:gd name="connsiteX0" fmla="*/ 771144 w 771144"/>
              <a:gd name="connsiteY0" fmla="*/ 0 h 771143"/>
              <a:gd name="connsiteX1" fmla="*/ 0 w 771144"/>
              <a:gd name="connsiteY1" fmla="*/ 771144 h 771143"/>
              <a:gd name="connsiteX2" fmla="*/ 771144 w 771144"/>
              <a:gd name="connsiteY2" fmla="*/ 771144 h 771143"/>
              <a:gd name="connsiteX3" fmla="*/ 771144 w 771144"/>
              <a:gd name="connsiteY3" fmla="*/ 0 h 7711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1144" h="771143">
                <a:moveTo>
                  <a:pt x="771144" y="0"/>
                </a:moveTo>
                <a:cubicBezTo>
                  <a:pt x="345186" y="0"/>
                  <a:pt x="0" y="345281"/>
                  <a:pt x="0" y="771144"/>
                </a:cubicBezTo>
                <a:lnTo>
                  <a:pt x="771144" y="771144"/>
                </a:lnTo>
                <a:lnTo>
                  <a:pt x="771144" y="0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Freeform: Shape 11">
            <a:extLst>
              <a:ext uri="{FF2B5EF4-FFF2-40B4-BE49-F238E27FC236}">
                <a16:creationId xmlns:a16="http://schemas.microsoft.com/office/drawing/2014/main" id="{72DE3ECE-00B7-BB59-0662-0E7639B007E5}"/>
              </a:ext>
            </a:extLst>
          </p:cNvPr>
          <p:cNvSpPr/>
          <p:nvPr userDrawn="1"/>
        </p:nvSpPr>
        <p:spPr>
          <a:xfrm>
            <a:off x="6122749" y="3209336"/>
            <a:ext cx="725898" cy="725899"/>
          </a:xfrm>
          <a:custGeom>
            <a:avLst/>
            <a:gdLst>
              <a:gd name="connsiteX0" fmla="*/ 0 w 771143"/>
              <a:gd name="connsiteY0" fmla="*/ 0 h 771143"/>
              <a:gd name="connsiteX1" fmla="*/ 0 w 771143"/>
              <a:gd name="connsiteY1" fmla="*/ 771144 h 771143"/>
              <a:gd name="connsiteX2" fmla="*/ 771144 w 771143"/>
              <a:gd name="connsiteY2" fmla="*/ 771144 h 771143"/>
              <a:gd name="connsiteX3" fmla="*/ 0 w 771143"/>
              <a:gd name="connsiteY3" fmla="*/ 0 h 7711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1143" h="771143">
                <a:moveTo>
                  <a:pt x="0" y="0"/>
                </a:moveTo>
                <a:lnTo>
                  <a:pt x="0" y="771144"/>
                </a:lnTo>
                <a:lnTo>
                  <a:pt x="771144" y="771144"/>
                </a:lnTo>
                <a:cubicBezTo>
                  <a:pt x="771144" y="345281"/>
                  <a:pt x="425863" y="0"/>
                  <a:pt x="0" y="0"/>
                </a:cubicBezTo>
                <a:close/>
              </a:path>
            </a:pathLst>
          </a:custGeom>
          <a:solidFill>
            <a:srgbClr val="00CCD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142245E1-E911-39DE-D851-863F9423239E}"/>
              </a:ext>
            </a:extLst>
          </p:cNvPr>
          <p:cNvSpPr/>
          <p:nvPr userDrawn="1"/>
        </p:nvSpPr>
        <p:spPr>
          <a:xfrm>
            <a:off x="6122749" y="3203289"/>
            <a:ext cx="725898" cy="725899"/>
          </a:xfrm>
          <a:custGeom>
            <a:avLst/>
            <a:gdLst>
              <a:gd name="connsiteX0" fmla="*/ 0 w 771143"/>
              <a:gd name="connsiteY0" fmla="*/ 0 h 771143"/>
              <a:gd name="connsiteX1" fmla="*/ 0 w 771143"/>
              <a:gd name="connsiteY1" fmla="*/ 771144 h 771143"/>
              <a:gd name="connsiteX2" fmla="*/ 771144 w 771143"/>
              <a:gd name="connsiteY2" fmla="*/ 771144 h 771143"/>
              <a:gd name="connsiteX3" fmla="*/ 0 w 771143"/>
              <a:gd name="connsiteY3" fmla="*/ 0 h 7711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1143" h="771143">
                <a:moveTo>
                  <a:pt x="0" y="0"/>
                </a:moveTo>
                <a:lnTo>
                  <a:pt x="0" y="771144"/>
                </a:lnTo>
                <a:lnTo>
                  <a:pt x="771144" y="771144"/>
                </a:lnTo>
                <a:cubicBezTo>
                  <a:pt x="771144" y="345281"/>
                  <a:pt x="425863" y="0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F41AA186-57CA-CAD6-93B4-53184B65E8D5}"/>
              </a:ext>
            </a:extLst>
          </p:cNvPr>
          <p:cNvSpPr/>
          <p:nvPr userDrawn="1"/>
        </p:nvSpPr>
        <p:spPr>
          <a:xfrm>
            <a:off x="5396760" y="3929279"/>
            <a:ext cx="725899" cy="725989"/>
          </a:xfrm>
          <a:custGeom>
            <a:avLst/>
            <a:gdLst>
              <a:gd name="connsiteX0" fmla="*/ 0 w 771144"/>
              <a:gd name="connsiteY0" fmla="*/ 0 h 771239"/>
              <a:gd name="connsiteX1" fmla="*/ 771144 w 771144"/>
              <a:gd name="connsiteY1" fmla="*/ 771239 h 771239"/>
              <a:gd name="connsiteX2" fmla="*/ 771144 w 771144"/>
              <a:gd name="connsiteY2" fmla="*/ 0 h 771239"/>
              <a:gd name="connsiteX3" fmla="*/ 0 w 771144"/>
              <a:gd name="connsiteY3" fmla="*/ 0 h 771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1144" h="771239">
                <a:moveTo>
                  <a:pt x="0" y="0"/>
                </a:moveTo>
                <a:cubicBezTo>
                  <a:pt x="0" y="425958"/>
                  <a:pt x="345281" y="771239"/>
                  <a:pt x="771144" y="771239"/>
                </a:cubicBezTo>
                <a:lnTo>
                  <a:pt x="77114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FA515612-A9E6-BD2E-1841-A4B5F9264345}"/>
              </a:ext>
            </a:extLst>
          </p:cNvPr>
          <p:cNvSpPr/>
          <p:nvPr userDrawn="1"/>
        </p:nvSpPr>
        <p:spPr>
          <a:xfrm>
            <a:off x="6122749" y="3929189"/>
            <a:ext cx="725898" cy="725989"/>
          </a:xfrm>
          <a:custGeom>
            <a:avLst/>
            <a:gdLst>
              <a:gd name="connsiteX0" fmla="*/ 0 w 771143"/>
              <a:gd name="connsiteY0" fmla="*/ 771239 h 771239"/>
              <a:gd name="connsiteX1" fmla="*/ 771144 w 771143"/>
              <a:gd name="connsiteY1" fmla="*/ 0 h 771239"/>
              <a:gd name="connsiteX2" fmla="*/ 0 w 771143"/>
              <a:gd name="connsiteY2" fmla="*/ 0 h 771239"/>
              <a:gd name="connsiteX3" fmla="*/ 0 w 771143"/>
              <a:gd name="connsiteY3" fmla="*/ 771239 h 771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1143" h="771239">
                <a:moveTo>
                  <a:pt x="0" y="771239"/>
                </a:moveTo>
                <a:cubicBezTo>
                  <a:pt x="425958" y="771239"/>
                  <a:pt x="771144" y="425958"/>
                  <a:pt x="771144" y="0"/>
                </a:cubicBezTo>
                <a:lnTo>
                  <a:pt x="0" y="0"/>
                </a:lnTo>
                <a:lnTo>
                  <a:pt x="0" y="771239"/>
                </a:lnTo>
                <a:close/>
              </a:path>
            </a:pathLst>
          </a:cu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FEF573CB-D4A0-208C-EC79-AACE6A1B640D}"/>
              </a:ext>
            </a:extLst>
          </p:cNvPr>
          <p:cNvSpPr/>
          <p:nvPr userDrawn="1"/>
        </p:nvSpPr>
        <p:spPr>
          <a:xfrm>
            <a:off x="5572047" y="3384624"/>
            <a:ext cx="1101400" cy="1101402"/>
          </a:xfrm>
          <a:custGeom>
            <a:avLst/>
            <a:gdLst>
              <a:gd name="connsiteX0" fmla="*/ 1170051 w 1170050"/>
              <a:gd name="connsiteY0" fmla="*/ 585026 h 1170051"/>
              <a:gd name="connsiteX1" fmla="*/ 585026 w 1170050"/>
              <a:gd name="connsiteY1" fmla="*/ 1170051 h 1170051"/>
              <a:gd name="connsiteX2" fmla="*/ 0 w 1170050"/>
              <a:gd name="connsiteY2" fmla="*/ 585026 h 1170051"/>
              <a:gd name="connsiteX3" fmla="*/ 585026 w 1170050"/>
              <a:gd name="connsiteY3" fmla="*/ 0 h 1170051"/>
              <a:gd name="connsiteX4" fmla="*/ 1170051 w 1170050"/>
              <a:gd name="connsiteY4" fmla="*/ 585026 h 11700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70050" h="1170051">
                <a:moveTo>
                  <a:pt x="1170051" y="585026"/>
                </a:moveTo>
                <a:cubicBezTo>
                  <a:pt x="1170051" y="908114"/>
                  <a:pt x="908113" y="1170051"/>
                  <a:pt x="585026" y="1170051"/>
                </a:cubicBezTo>
                <a:cubicBezTo>
                  <a:pt x="261937" y="1170051"/>
                  <a:pt x="0" y="908114"/>
                  <a:pt x="0" y="585026"/>
                </a:cubicBezTo>
                <a:cubicBezTo>
                  <a:pt x="0" y="261938"/>
                  <a:pt x="261937" y="0"/>
                  <a:pt x="585026" y="0"/>
                </a:cubicBezTo>
                <a:cubicBezTo>
                  <a:pt x="908113" y="0"/>
                  <a:pt x="1170051" y="261938"/>
                  <a:pt x="1170051" y="585026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8F44A993-C88E-70DE-E773-78B8BDE5431A}"/>
              </a:ext>
            </a:extLst>
          </p:cNvPr>
          <p:cNvSpPr/>
          <p:nvPr userDrawn="1"/>
        </p:nvSpPr>
        <p:spPr>
          <a:xfrm>
            <a:off x="5240749" y="3054760"/>
            <a:ext cx="846493" cy="846405"/>
          </a:xfrm>
          <a:custGeom>
            <a:avLst/>
            <a:gdLst>
              <a:gd name="connsiteX0" fmla="*/ 37529 w 899255"/>
              <a:gd name="connsiteY0" fmla="*/ 899160 h 899160"/>
              <a:gd name="connsiteX1" fmla="*/ 899255 w 899255"/>
              <a:gd name="connsiteY1" fmla="*/ 37529 h 899160"/>
              <a:gd name="connsiteX2" fmla="*/ 899255 w 899255"/>
              <a:gd name="connsiteY2" fmla="*/ 0 h 899160"/>
              <a:gd name="connsiteX3" fmla="*/ 0 w 899255"/>
              <a:gd name="connsiteY3" fmla="*/ 899160 h 899160"/>
              <a:gd name="connsiteX4" fmla="*/ 37529 w 899255"/>
              <a:gd name="connsiteY4" fmla="*/ 899160 h 899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255" h="899160">
                <a:moveTo>
                  <a:pt x="37529" y="899160"/>
                </a:moveTo>
                <a:cubicBezTo>
                  <a:pt x="56198" y="432435"/>
                  <a:pt x="432435" y="56198"/>
                  <a:pt x="899255" y="37529"/>
                </a:cubicBezTo>
                <a:lnTo>
                  <a:pt x="899255" y="0"/>
                </a:lnTo>
                <a:cubicBezTo>
                  <a:pt x="411766" y="18669"/>
                  <a:pt x="18669" y="411766"/>
                  <a:pt x="0" y="899160"/>
                </a:cubicBezTo>
                <a:lnTo>
                  <a:pt x="37529" y="899160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368BAE06-8994-6700-06D5-982251AFA45C}"/>
              </a:ext>
            </a:extLst>
          </p:cNvPr>
          <p:cNvSpPr/>
          <p:nvPr userDrawn="1"/>
        </p:nvSpPr>
        <p:spPr>
          <a:xfrm>
            <a:off x="5240749" y="3968948"/>
            <a:ext cx="846493" cy="846943"/>
          </a:xfrm>
          <a:custGeom>
            <a:avLst/>
            <a:gdLst>
              <a:gd name="connsiteX0" fmla="*/ 37529 w 899255"/>
              <a:gd name="connsiteY0" fmla="*/ 0 h 899731"/>
              <a:gd name="connsiteX1" fmla="*/ 0 w 899255"/>
              <a:gd name="connsiteY1" fmla="*/ 0 h 899731"/>
              <a:gd name="connsiteX2" fmla="*/ 899255 w 899255"/>
              <a:gd name="connsiteY2" fmla="*/ 899732 h 899731"/>
              <a:gd name="connsiteX3" fmla="*/ 899255 w 899255"/>
              <a:gd name="connsiteY3" fmla="*/ 862203 h 899731"/>
              <a:gd name="connsiteX4" fmla="*/ 37529 w 899255"/>
              <a:gd name="connsiteY4" fmla="*/ 0 h 899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255" h="899731">
                <a:moveTo>
                  <a:pt x="37529" y="0"/>
                </a:moveTo>
                <a:lnTo>
                  <a:pt x="0" y="0"/>
                </a:lnTo>
                <a:cubicBezTo>
                  <a:pt x="18383" y="487680"/>
                  <a:pt x="411575" y="881063"/>
                  <a:pt x="899255" y="899732"/>
                </a:cubicBezTo>
                <a:lnTo>
                  <a:pt x="899255" y="862203"/>
                </a:lnTo>
                <a:cubicBezTo>
                  <a:pt x="432245" y="843534"/>
                  <a:pt x="55912" y="467011"/>
                  <a:pt x="37529" y="0"/>
                </a:cubicBez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8C5FDC08-F59C-9B02-7BC3-5CA367469DB1}"/>
              </a:ext>
            </a:extLst>
          </p:cNvPr>
          <p:cNvSpPr/>
          <p:nvPr userDrawn="1"/>
        </p:nvSpPr>
        <p:spPr>
          <a:xfrm>
            <a:off x="6154937" y="3054760"/>
            <a:ext cx="847031" cy="846405"/>
          </a:xfrm>
          <a:custGeom>
            <a:avLst/>
            <a:gdLst>
              <a:gd name="connsiteX0" fmla="*/ 862298 w 899826"/>
              <a:gd name="connsiteY0" fmla="*/ 899160 h 899160"/>
              <a:gd name="connsiteX1" fmla="*/ 899827 w 899826"/>
              <a:gd name="connsiteY1" fmla="*/ 899160 h 899160"/>
              <a:gd name="connsiteX2" fmla="*/ 0 w 899826"/>
              <a:gd name="connsiteY2" fmla="*/ 0 h 899160"/>
              <a:gd name="connsiteX3" fmla="*/ 0 w 899826"/>
              <a:gd name="connsiteY3" fmla="*/ 37529 h 899160"/>
              <a:gd name="connsiteX4" fmla="*/ 862298 w 899826"/>
              <a:gd name="connsiteY4" fmla="*/ 899160 h 899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826" h="899160">
                <a:moveTo>
                  <a:pt x="862298" y="899160"/>
                </a:moveTo>
                <a:lnTo>
                  <a:pt x="899827" y="899160"/>
                </a:lnTo>
                <a:cubicBezTo>
                  <a:pt x="881158" y="411575"/>
                  <a:pt x="487775" y="18383"/>
                  <a:pt x="0" y="0"/>
                </a:cubicBezTo>
                <a:lnTo>
                  <a:pt x="0" y="37529"/>
                </a:lnTo>
                <a:cubicBezTo>
                  <a:pt x="467011" y="55912"/>
                  <a:pt x="843629" y="432245"/>
                  <a:pt x="862298" y="899160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BD88C099-9E35-EF40-C1C9-F0EDD72098E4}"/>
              </a:ext>
            </a:extLst>
          </p:cNvPr>
          <p:cNvSpPr/>
          <p:nvPr userDrawn="1"/>
        </p:nvSpPr>
        <p:spPr>
          <a:xfrm>
            <a:off x="6154937" y="3968948"/>
            <a:ext cx="847031" cy="846943"/>
          </a:xfrm>
          <a:custGeom>
            <a:avLst/>
            <a:gdLst>
              <a:gd name="connsiteX0" fmla="*/ 862298 w 899826"/>
              <a:gd name="connsiteY0" fmla="*/ 0 h 899731"/>
              <a:gd name="connsiteX1" fmla="*/ 0 w 899826"/>
              <a:gd name="connsiteY1" fmla="*/ 862203 h 899731"/>
              <a:gd name="connsiteX2" fmla="*/ 0 w 899826"/>
              <a:gd name="connsiteY2" fmla="*/ 899732 h 899731"/>
              <a:gd name="connsiteX3" fmla="*/ 899827 w 899826"/>
              <a:gd name="connsiteY3" fmla="*/ 0 h 899731"/>
              <a:gd name="connsiteX4" fmla="*/ 862298 w 899826"/>
              <a:gd name="connsiteY4" fmla="*/ 0 h 899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826" h="899731">
                <a:moveTo>
                  <a:pt x="862298" y="0"/>
                </a:moveTo>
                <a:cubicBezTo>
                  <a:pt x="843915" y="467201"/>
                  <a:pt x="467297" y="843820"/>
                  <a:pt x="0" y="862203"/>
                </a:cubicBezTo>
                <a:lnTo>
                  <a:pt x="0" y="899732"/>
                </a:lnTo>
                <a:cubicBezTo>
                  <a:pt x="487870" y="881348"/>
                  <a:pt x="881444" y="487870"/>
                  <a:pt x="899827" y="0"/>
                </a:cubicBezTo>
                <a:lnTo>
                  <a:pt x="862298" y="0"/>
                </a:lnTo>
                <a:close/>
              </a:path>
            </a:pathLst>
          </a:cu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779F419C-9039-9106-1E71-25BF1CF878B9}"/>
              </a:ext>
            </a:extLst>
          </p:cNvPr>
          <p:cNvSpPr/>
          <p:nvPr userDrawn="1"/>
        </p:nvSpPr>
        <p:spPr>
          <a:xfrm rot="18900243">
            <a:off x="5407470" y="3143746"/>
            <a:ext cx="57297" cy="205247"/>
          </a:xfrm>
          <a:custGeom>
            <a:avLst/>
            <a:gdLst>
              <a:gd name="connsiteX0" fmla="*/ 0 w 60868"/>
              <a:gd name="connsiteY0" fmla="*/ 0 h 218040"/>
              <a:gd name="connsiteX1" fmla="*/ 60868 w 60868"/>
              <a:gd name="connsiteY1" fmla="*/ 0 h 218040"/>
              <a:gd name="connsiteX2" fmla="*/ 60868 w 60868"/>
              <a:gd name="connsiteY2" fmla="*/ 218041 h 218040"/>
              <a:gd name="connsiteX3" fmla="*/ 0 w 60868"/>
              <a:gd name="connsiteY3" fmla="*/ 218041 h 218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868" h="218040">
                <a:moveTo>
                  <a:pt x="0" y="0"/>
                </a:moveTo>
                <a:lnTo>
                  <a:pt x="60868" y="0"/>
                </a:lnTo>
                <a:lnTo>
                  <a:pt x="60868" y="218041"/>
                </a:lnTo>
                <a:lnTo>
                  <a:pt x="0" y="218041"/>
                </a:lnTo>
                <a:close/>
              </a:path>
            </a:pathLst>
          </a:custGeom>
          <a:solidFill>
            <a:schemeClr val="accent1"/>
          </a:solidFill>
          <a:ln w="952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FC20F593-2EBD-5A20-8B3A-CBCDE98D6DE6}"/>
              </a:ext>
            </a:extLst>
          </p:cNvPr>
          <p:cNvSpPr/>
          <p:nvPr userDrawn="1"/>
        </p:nvSpPr>
        <p:spPr>
          <a:xfrm>
            <a:off x="5459972" y="3270283"/>
            <a:ext cx="97283" cy="97215"/>
          </a:xfrm>
          <a:custGeom>
            <a:avLst/>
            <a:gdLst>
              <a:gd name="connsiteX0" fmla="*/ 88201 w 103346"/>
              <a:gd name="connsiteY0" fmla="*/ 15073 h 103274"/>
              <a:gd name="connsiteX1" fmla="*/ 88201 w 103346"/>
              <a:gd name="connsiteY1" fmla="*/ 88130 h 103274"/>
              <a:gd name="connsiteX2" fmla="*/ 15145 w 103346"/>
              <a:gd name="connsiteY2" fmla="*/ 88130 h 103274"/>
              <a:gd name="connsiteX3" fmla="*/ 15145 w 103346"/>
              <a:gd name="connsiteY3" fmla="*/ 15073 h 103274"/>
              <a:gd name="connsiteX4" fmla="*/ 88201 w 103346"/>
              <a:gd name="connsiteY4" fmla="*/ 15073 h 103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3346" h="103274">
                <a:moveTo>
                  <a:pt x="88201" y="15073"/>
                </a:moveTo>
                <a:cubicBezTo>
                  <a:pt x="108395" y="35266"/>
                  <a:pt x="108395" y="67937"/>
                  <a:pt x="88201" y="88130"/>
                </a:cubicBezTo>
                <a:cubicBezTo>
                  <a:pt x="68009" y="108323"/>
                  <a:pt x="35338" y="108323"/>
                  <a:pt x="15145" y="88130"/>
                </a:cubicBezTo>
                <a:cubicBezTo>
                  <a:pt x="-5048" y="67937"/>
                  <a:pt x="-5048" y="35266"/>
                  <a:pt x="15145" y="15073"/>
                </a:cubicBezTo>
                <a:cubicBezTo>
                  <a:pt x="35242" y="-5024"/>
                  <a:pt x="68009" y="-5024"/>
                  <a:pt x="88201" y="15073"/>
                </a:cubicBezTo>
                <a:close/>
              </a:path>
            </a:pathLst>
          </a:custGeom>
          <a:solidFill>
            <a:srgbClr val="FFFFFF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FF912A1-C78F-2F1A-AE5A-02A7331489AD}"/>
              </a:ext>
            </a:extLst>
          </p:cNvPr>
          <p:cNvSpPr/>
          <p:nvPr userDrawn="1"/>
        </p:nvSpPr>
        <p:spPr>
          <a:xfrm>
            <a:off x="5448539" y="3258839"/>
            <a:ext cx="120078" cy="120023"/>
          </a:xfrm>
          <a:custGeom>
            <a:avLst/>
            <a:gdLst>
              <a:gd name="connsiteX0" fmla="*/ 108918 w 127563"/>
              <a:gd name="connsiteY0" fmla="*/ 18657 h 127504"/>
              <a:gd name="connsiteX1" fmla="*/ 108918 w 127563"/>
              <a:gd name="connsiteY1" fmla="*/ 108859 h 127504"/>
              <a:gd name="connsiteX2" fmla="*/ 18717 w 127563"/>
              <a:gd name="connsiteY2" fmla="*/ 108859 h 127504"/>
              <a:gd name="connsiteX3" fmla="*/ 18717 w 127563"/>
              <a:gd name="connsiteY3" fmla="*/ 18562 h 127504"/>
              <a:gd name="connsiteX4" fmla="*/ 108918 w 127563"/>
              <a:gd name="connsiteY4" fmla="*/ 18657 h 127504"/>
              <a:gd name="connsiteX5" fmla="*/ 35862 w 127563"/>
              <a:gd name="connsiteY5" fmla="*/ 91714 h 127504"/>
              <a:gd name="connsiteX6" fmla="*/ 63770 w 127563"/>
              <a:gd name="connsiteY6" fmla="*/ 103334 h 127504"/>
              <a:gd name="connsiteX7" fmla="*/ 91678 w 127563"/>
              <a:gd name="connsiteY7" fmla="*/ 91714 h 127504"/>
              <a:gd name="connsiteX8" fmla="*/ 91678 w 127563"/>
              <a:gd name="connsiteY8" fmla="*/ 35897 h 127504"/>
              <a:gd name="connsiteX9" fmla="*/ 35862 w 127563"/>
              <a:gd name="connsiteY9" fmla="*/ 35897 h 127504"/>
              <a:gd name="connsiteX10" fmla="*/ 35862 w 127563"/>
              <a:gd name="connsiteY10" fmla="*/ 91714 h 127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7563" h="127504">
                <a:moveTo>
                  <a:pt x="108918" y="18657"/>
                </a:moveTo>
                <a:cubicBezTo>
                  <a:pt x="133779" y="43517"/>
                  <a:pt x="133779" y="83999"/>
                  <a:pt x="108918" y="108859"/>
                </a:cubicBezTo>
                <a:cubicBezTo>
                  <a:pt x="84058" y="133719"/>
                  <a:pt x="43577" y="133719"/>
                  <a:pt x="18717" y="108859"/>
                </a:cubicBezTo>
                <a:cubicBezTo>
                  <a:pt x="-6239" y="83903"/>
                  <a:pt x="-6239" y="43422"/>
                  <a:pt x="18717" y="18562"/>
                </a:cubicBezTo>
                <a:cubicBezTo>
                  <a:pt x="43577" y="-6203"/>
                  <a:pt x="84058" y="-6203"/>
                  <a:pt x="108918" y="18657"/>
                </a:cubicBezTo>
                <a:close/>
                <a:moveTo>
                  <a:pt x="35862" y="91714"/>
                </a:moveTo>
                <a:cubicBezTo>
                  <a:pt x="43291" y="99143"/>
                  <a:pt x="53197" y="103334"/>
                  <a:pt x="63770" y="103334"/>
                </a:cubicBezTo>
                <a:cubicBezTo>
                  <a:pt x="74247" y="103334"/>
                  <a:pt x="84249" y="99239"/>
                  <a:pt x="91678" y="91714"/>
                </a:cubicBezTo>
                <a:cubicBezTo>
                  <a:pt x="107109" y="76283"/>
                  <a:pt x="107109" y="51233"/>
                  <a:pt x="91678" y="35897"/>
                </a:cubicBezTo>
                <a:cubicBezTo>
                  <a:pt x="76248" y="20467"/>
                  <a:pt x="51197" y="20467"/>
                  <a:pt x="35862" y="35897"/>
                </a:cubicBezTo>
                <a:cubicBezTo>
                  <a:pt x="20431" y="51233"/>
                  <a:pt x="20526" y="76283"/>
                  <a:pt x="35862" y="91714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62E63083-4B90-58CD-6C85-8988A05E30AD}"/>
              </a:ext>
            </a:extLst>
          </p:cNvPr>
          <p:cNvSpPr/>
          <p:nvPr userDrawn="1"/>
        </p:nvSpPr>
        <p:spPr>
          <a:xfrm>
            <a:off x="5294188" y="3104432"/>
            <a:ext cx="173405" cy="173494"/>
          </a:xfrm>
          <a:custGeom>
            <a:avLst/>
            <a:gdLst>
              <a:gd name="connsiteX0" fmla="*/ 184214 w 184213"/>
              <a:gd name="connsiteY0" fmla="*/ 56864 h 184308"/>
              <a:gd name="connsiteX1" fmla="*/ 95822 w 184213"/>
              <a:gd name="connsiteY1" fmla="*/ 95822 h 184308"/>
              <a:gd name="connsiteX2" fmla="*/ 56769 w 184213"/>
              <a:gd name="connsiteY2" fmla="*/ 184309 h 184308"/>
              <a:gd name="connsiteX3" fmla="*/ 0 w 184213"/>
              <a:gd name="connsiteY3" fmla="*/ 0 h 184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4213" h="184308">
                <a:moveTo>
                  <a:pt x="184214" y="56864"/>
                </a:moveTo>
                <a:lnTo>
                  <a:pt x="95822" y="95822"/>
                </a:lnTo>
                <a:lnTo>
                  <a:pt x="56769" y="18430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44A7714D-9853-5561-D474-137140AB93C9}"/>
              </a:ext>
            </a:extLst>
          </p:cNvPr>
          <p:cNvSpPr/>
          <p:nvPr userDrawn="1"/>
        </p:nvSpPr>
        <p:spPr>
          <a:xfrm rot="18900000">
            <a:off x="6778083" y="4521729"/>
            <a:ext cx="57293" cy="205233"/>
          </a:xfrm>
          <a:custGeom>
            <a:avLst/>
            <a:gdLst>
              <a:gd name="connsiteX0" fmla="*/ 0 w 60864"/>
              <a:gd name="connsiteY0" fmla="*/ 0 h 218025"/>
              <a:gd name="connsiteX1" fmla="*/ 60864 w 60864"/>
              <a:gd name="connsiteY1" fmla="*/ 0 h 218025"/>
              <a:gd name="connsiteX2" fmla="*/ 60864 w 60864"/>
              <a:gd name="connsiteY2" fmla="*/ 218025 h 218025"/>
              <a:gd name="connsiteX3" fmla="*/ 0 w 60864"/>
              <a:gd name="connsiteY3" fmla="*/ 218025 h 218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864" h="218025">
                <a:moveTo>
                  <a:pt x="0" y="0"/>
                </a:moveTo>
                <a:lnTo>
                  <a:pt x="60864" y="0"/>
                </a:lnTo>
                <a:lnTo>
                  <a:pt x="60864" y="218025"/>
                </a:lnTo>
                <a:lnTo>
                  <a:pt x="0" y="218025"/>
                </a:lnTo>
                <a:close/>
              </a:path>
            </a:pathLst>
          </a:cu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562CCB01-4B5E-B939-A8B8-DDC696FA4020}"/>
              </a:ext>
            </a:extLst>
          </p:cNvPr>
          <p:cNvSpPr/>
          <p:nvPr userDrawn="1"/>
        </p:nvSpPr>
        <p:spPr>
          <a:xfrm>
            <a:off x="6685464" y="4503062"/>
            <a:ext cx="97283" cy="97316"/>
          </a:xfrm>
          <a:custGeom>
            <a:avLst/>
            <a:gdLst>
              <a:gd name="connsiteX0" fmla="*/ 15145 w 103346"/>
              <a:gd name="connsiteY0" fmla="*/ 88201 h 103381"/>
              <a:gd name="connsiteX1" fmla="*/ 15145 w 103346"/>
              <a:gd name="connsiteY1" fmla="*/ 15145 h 103381"/>
              <a:gd name="connsiteX2" fmla="*/ 88201 w 103346"/>
              <a:gd name="connsiteY2" fmla="*/ 15145 h 103381"/>
              <a:gd name="connsiteX3" fmla="*/ 88201 w 103346"/>
              <a:gd name="connsiteY3" fmla="*/ 88201 h 103381"/>
              <a:gd name="connsiteX4" fmla="*/ 15145 w 103346"/>
              <a:gd name="connsiteY4" fmla="*/ 88201 h 103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3346" h="103381">
                <a:moveTo>
                  <a:pt x="15145" y="88201"/>
                </a:moveTo>
                <a:cubicBezTo>
                  <a:pt x="-5048" y="68008"/>
                  <a:pt x="-5048" y="35338"/>
                  <a:pt x="15145" y="15145"/>
                </a:cubicBezTo>
                <a:cubicBezTo>
                  <a:pt x="35338" y="-5048"/>
                  <a:pt x="68008" y="-5048"/>
                  <a:pt x="88201" y="15145"/>
                </a:cubicBezTo>
                <a:cubicBezTo>
                  <a:pt x="108394" y="35338"/>
                  <a:pt x="108394" y="68008"/>
                  <a:pt x="88201" y="88201"/>
                </a:cubicBezTo>
                <a:cubicBezTo>
                  <a:pt x="68104" y="108490"/>
                  <a:pt x="35338" y="108395"/>
                  <a:pt x="15145" y="88201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3391ADCC-9FEE-879E-F139-5C5032AA2D3F}"/>
              </a:ext>
            </a:extLst>
          </p:cNvPr>
          <p:cNvSpPr/>
          <p:nvPr userDrawn="1"/>
        </p:nvSpPr>
        <p:spPr>
          <a:xfrm>
            <a:off x="6674099" y="4491787"/>
            <a:ext cx="120078" cy="120023"/>
          </a:xfrm>
          <a:custGeom>
            <a:avLst/>
            <a:gdLst>
              <a:gd name="connsiteX0" fmla="*/ 18645 w 127563"/>
              <a:gd name="connsiteY0" fmla="*/ 108847 h 127504"/>
              <a:gd name="connsiteX1" fmla="*/ 18645 w 127563"/>
              <a:gd name="connsiteY1" fmla="*/ 18645 h 127504"/>
              <a:gd name="connsiteX2" fmla="*/ 108847 w 127563"/>
              <a:gd name="connsiteY2" fmla="*/ 18645 h 127504"/>
              <a:gd name="connsiteX3" fmla="*/ 108847 w 127563"/>
              <a:gd name="connsiteY3" fmla="*/ 108942 h 127504"/>
              <a:gd name="connsiteX4" fmla="*/ 18645 w 127563"/>
              <a:gd name="connsiteY4" fmla="*/ 108847 h 127504"/>
              <a:gd name="connsiteX5" fmla="*/ 91702 w 127563"/>
              <a:gd name="connsiteY5" fmla="*/ 35790 h 127504"/>
              <a:gd name="connsiteX6" fmla="*/ 63794 w 127563"/>
              <a:gd name="connsiteY6" fmla="*/ 24170 h 127504"/>
              <a:gd name="connsiteX7" fmla="*/ 35885 w 127563"/>
              <a:gd name="connsiteY7" fmla="*/ 35790 h 127504"/>
              <a:gd name="connsiteX8" fmla="*/ 35885 w 127563"/>
              <a:gd name="connsiteY8" fmla="*/ 91607 h 127504"/>
              <a:gd name="connsiteX9" fmla="*/ 91797 w 127563"/>
              <a:gd name="connsiteY9" fmla="*/ 91607 h 127504"/>
              <a:gd name="connsiteX10" fmla="*/ 91702 w 127563"/>
              <a:gd name="connsiteY10" fmla="*/ 35790 h 127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7563" h="127504">
                <a:moveTo>
                  <a:pt x="18645" y="108847"/>
                </a:moveTo>
                <a:cubicBezTo>
                  <a:pt x="-6215" y="83987"/>
                  <a:pt x="-6215" y="43505"/>
                  <a:pt x="18645" y="18645"/>
                </a:cubicBezTo>
                <a:cubicBezTo>
                  <a:pt x="43601" y="-6215"/>
                  <a:pt x="84082" y="-6215"/>
                  <a:pt x="108847" y="18645"/>
                </a:cubicBezTo>
                <a:cubicBezTo>
                  <a:pt x="133802" y="43505"/>
                  <a:pt x="133802" y="84082"/>
                  <a:pt x="108847" y="108942"/>
                </a:cubicBezTo>
                <a:cubicBezTo>
                  <a:pt x="83987" y="133707"/>
                  <a:pt x="43505" y="133707"/>
                  <a:pt x="18645" y="108847"/>
                </a:cubicBezTo>
                <a:close/>
                <a:moveTo>
                  <a:pt x="91702" y="35790"/>
                </a:moveTo>
                <a:cubicBezTo>
                  <a:pt x="84272" y="28361"/>
                  <a:pt x="74366" y="24170"/>
                  <a:pt x="63794" y="24170"/>
                </a:cubicBezTo>
                <a:cubicBezTo>
                  <a:pt x="53316" y="24170"/>
                  <a:pt x="43315" y="28266"/>
                  <a:pt x="35885" y="35790"/>
                </a:cubicBezTo>
                <a:cubicBezTo>
                  <a:pt x="20455" y="51221"/>
                  <a:pt x="20550" y="76271"/>
                  <a:pt x="35885" y="91607"/>
                </a:cubicBezTo>
                <a:cubicBezTo>
                  <a:pt x="51316" y="106942"/>
                  <a:pt x="76367" y="107037"/>
                  <a:pt x="91797" y="91607"/>
                </a:cubicBezTo>
                <a:cubicBezTo>
                  <a:pt x="107132" y="76271"/>
                  <a:pt x="107037" y="51221"/>
                  <a:pt x="91702" y="35790"/>
                </a:cubicBezTo>
                <a:close/>
              </a:path>
            </a:pathLst>
          </a:cu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8155BC99-2E0E-6B4C-2C9C-317220BBFBF6}"/>
              </a:ext>
            </a:extLst>
          </p:cNvPr>
          <p:cNvSpPr/>
          <p:nvPr userDrawn="1"/>
        </p:nvSpPr>
        <p:spPr>
          <a:xfrm>
            <a:off x="6775125" y="4592724"/>
            <a:ext cx="173405" cy="173494"/>
          </a:xfrm>
          <a:custGeom>
            <a:avLst/>
            <a:gdLst>
              <a:gd name="connsiteX0" fmla="*/ 0 w 184213"/>
              <a:gd name="connsiteY0" fmla="*/ 127445 h 184308"/>
              <a:gd name="connsiteX1" fmla="*/ 88392 w 184213"/>
              <a:gd name="connsiteY1" fmla="*/ 88487 h 184308"/>
              <a:gd name="connsiteX2" fmla="*/ 127444 w 184213"/>
              <a:gd name="connsiteY2" fmla="*/ 0 h 184308"/>
              <a:gd name="connsiteX3" fmla="*/ 184213 w 184213"/>
              <a:gd name="connsiteY3" fmla="*/ 184309 h 184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4213" h="184308">
                <a:moveTo>
                  <a:pt x="0" y="127445"/>
                </a:moveTo>
                <a:lnTo>
                  <a:pt x="88392" y="88487"/>
                </a:lnTo>
                <a:lnTo>
                  <a:pt x="127444" y="0"/>
                </a:lnTo>
                <a:lnTo>
                  <a:pt x="184213" y="184309"/>
                </a:lnTo>
                <a:close/>
              </a:path>
            </a:pathLst>
          </a:cu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78CE3E02-4444-C07D-DD8F-F5D7C40B378D}"/>
              </a:ext>
            </a:extLst>
          </p:cNvPr>
          <p:cNvSpPr/>
          <p:nvPr userDrawn="1"/>
        </p:nvSpPr>
        <p:spPr>
          <a:xfrm rot="18900000">
            <a:off x="5329791" y="4591973"/>
            <a:ext cx="205233" cy="57293"/>
          </a:xfrm>
          <a:custGeom>
            <a:avLst/>
            <a:gdLst>
              <a:gd name="connsiteX0" fmla="*/ 0 w 218025"/>
              <a:gd name="connsiteY0" fmla="*/ 0 h 60864"/>
              <a:gd name="connsiteX1" fmla="*/ 218025 w 218025"/>
              <a:gd name="connsiteY1" fmla="*/ 0 h 60864"/>
              <a:gd name="connsiteX2" fmla="*/ 218025 w 218025"/>
              <a:gd name="connsiteY2" fmla="*/ 60864 h 60864"/>
              <a:gd name="connsiteX3" fmla="*/ 0 w 218025"/>
              <a:gd name="connsiteY3" fmla="*/ 60864 h 60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025" h="60864">
                <a:moveTo>
                  <a:pt x="0" y="0"/>
                </a:moveTo>
                <a:lnTo>
                  <a:pt x="218025" y="0"/>
                </a:lnTo>
                <a:lnTo>
                  <a:pt x="218025" y="60864"/>
                </a:lnTo>
                <a:lnTo>
                  <a:pt x="0" y="60864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B07FE070-3561-C96C-0D01-783F25CBC692}"/>
              </a:ext>
            </a:extLst>
          </p:cNvPr>
          <p:cNvSpPr/>
          <p:nvPr userDrawn="1"/>
        </p:nvSpPr>
        <p:spPr>
          <a:xfrm>
            <a:off x="5456284" y="4499476"/>
            <a:ext cx="97203" cy="97204"/>
          </a:xfrm>
          <a:custGeom>
            <a:avLst/>
            <a:gdLst>
              <a:gd name="connsiteX0" fmla="*/ 15157 w 103262"/>
              <a:gd name="connsiteY0" fmla="*/ 15145 h 103262"/>
              <a:gd name="connsiteX1" fmla="*/ 88118 w 103262"/>
              <a:gd name="connsiteY1" fmla="*/ 15145 h 103262"/>
              <a:gd name="connsiteX2" fmla="*/ 88118 w 103262"/>
              <a:gd name="connsiteY2" fmla="*/ 88106 h 103262"/>
              <a:gd name="connsiteX3" fmla="*/ 15061 w 103262"/>
              <a:gd name="connsiteY3" fmla="*/ 88201 h 103262"/>
              <a:gd name="connsiteX4" fmla="*/ 15157 w 103262"/>
              <a:gd name="connsiteY4" fmla="*/ 15145 h 103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3262" h="103262">
                <a:moveTo>
                  <a:pt x="15157" y="15145"/>
                </a:moveTo>
                <a:cubicBezTo>
                  <a:pt x="35350" y="-5048"/>
                  <a:pt x="68020" y="-5048"/>
                  <a:pt x="88118" y="15145"/>
                </a:cubicBezTo>
                <a:cubicBezTo>
                  <a:pt x="108311" y="35338"/>
                  <a:pt x="108311" y="68008"/>
                  <a:pt x="88118" y="88106"/>
                </a:cubicBezTo>
                <a:cubicBezTo>
                  <a:pt x="67925" y="108299"/>
                  <a:pt x="35254" y="108299"/>
                  <a:pt x="15061" y="88201"/>
                </a:cubicBezTo>
                <a:cubicBezTo>
                  <a:pt x="-5036" y="68008"/>
                  <a:pt x="-5036" y="35338"/>
                  <a:pt x="15157" y="15145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8DD0F630-0B6E-3E09-FC01-04E6A42EE498}"/>
              </a:ext>
            </a:extLst>
          </p:cNvPr>
          <p:cNvSpPr/>
          <p:nvPr userDrawn="1"/>
        </p:nvSpPr>
        <p:spPr>
          <a:xfrm>
            <a:off x="5444852" y="4488022"/>
            <a:ext cx="120090" cy="120079"/>
          </a:xfrm>
          <a:custGeom>
            <a:avLst/>
            <a:gdLst>
              <a:gd name="connsiteX0" fmla="*/ 18729 w 127575"/>
              <a:gd name="connsiteY0" fmla="*/ 18645 h 127563"/>
              <a:gd name="connsiteX1" fmla="*/ 108930 w 127575"/>
              <a:gd name="connsiteY1" fmla="*/ 18645 h 127563"/>
              <a:gd name="connsiteX2" fmla="*/ 108930 w 127575"/>
              <a:gd name="connsiteY2" fmla="*/ 108847 h 127563"/>
              <a:gd name="connsiteX3" fmla="*/ 18633 w 127575"/>
              <a:gd name="connsiteY3" fmla="*/ 108847 h 127563"/>
              <a:gd name="connsiteX4" fmla="*/ 18729 w 127575"/>
              <a:gd name="connsiteY4" fmla="*/ 18645 h 127563"/>
              <a:gd name="connsiteX5" fmla="*/ 91690 w 127575"/>
              <a:gd name="connsiteY5" fmla="*/ 91702 h 127563"/>
              <a:gd name="connsiteX6" fmla="*/ 103311 w 127575"/>
              <a:gd name="connsiteY6" fmla="*/ 63794 h 127563"/>
              <a:gd name="connsiteX7" fmla="*/ 91690 w 127575"/>
              <a:gd name="connsiteY7" fmla="*/ 35885 h 127563"/>
              <a:gd name="connsiteX8" fmla="*/ 35874 w 127575"/>
              <a:gd name="connsiteY8" fmla="*/ 35885 h 127563"/>
              <a:gd name="connsiteX9" fmla="*/ 35874 w 127575"/>
              <a:gd name="connsiteY9" fmla="*/ 91797 h 127563"/>
              <a:gd name="connsiteX10" fmla="*/ 91690 w 127575"/>
              <a:gd name="connsiteY10" fmla="*/ 91702 h 1275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7575" h="127563">
                <a:moveTo>
                  <a:pt x="18729" y="18645"/>
                </a:moveTo>
                <a:cubicBezTo>
                  <a:pt x="43589" y="-6215"/>
                  <a:pt x="84070" y="-6215"/>
                  <a:pt x="108930" y="18645"/>
                </a:cubicBezTo>
                <a:cubicBezTo>
                  <a:pt x="133791" y="43505"/>
                  <a:pt x="133791" y="83987"/>
                  <a:pt x="108930" y="108847"/>
                </a:cubicBezTo>
                <a:cubicBezTo>
                  <a:pt x="83975" y="133802"/>
                  <a:pt x="43494" y="133802"/>
                  <a:pt x="18633" y="108847"/>
                </a:cubicBezTo>
                <a:cubicBezTo>
                  <a:pt x="-6227" y="84082"/>
                  <a:pt x="-6227" y="43601"/>
                  <a:pt x="18729" y="18645"/>
                </a:cubicBezTo>
                <a:close/>
                <a:moveTo>
                  <a:pt x="91690" y="91702"/>
                </a:moveTo>
                <a:cubicBezTo>
                  <a:pt x="99120" y="84272"/>
                  <a:pt x="103311" y="74367"/>
                  <a:pt x="103311" y="63794"/>
                </a:cubicBezTo>
                <a:cubicBezTo>
                  <a:pt x="103311" y="53316"/>
                  <a:pt x="99215" y="43315"/>
                  <a:pt x="91690" y="35885"/>
                </a:cubicBezTo>
                <a:cubicBezTo>
                  <a:pt x="76260" y="20455"/>
                  <a:pt x="51209" y="20455"/>
                  <a:pt x="35874" y="35885"/>
                </a:cubicBezTo>
                <a:cubicBezTo>
                  <a:pt x="20443" y="51316"/>
                  <a:pt x="20443" y="76367"/>
                  <a:pt x="35874" y="91797"/>
                </a:cubicBezTo>
                <a:cubicBezTo>
                  <a:pt x="51304" y="107133"/>
                  <a:pt x="76355" y="107133"/>
                  <a:pt x="91690" y="91702"/>
                </a:cubicBez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62219A04-B16D-7940-32E9-E80EA4F6EABB}"/>
              </a:ext>
            </a:extLst>
          </p:cNvPr>
          <p:cNvSpPr/>
          <p:nvPr userDrawn="1"/>
        </p:nvSpPr>
        <p:spPr>
          <a:xfrm>
            <a:off x="5290511" y="4589138"/>
            <a:ext cx="173405" cy="173405"/>
          </a:xfrm>
          <a:custGeom>
            <a:avLst/>
            <a:gdLst>
              <a:gd name="connsiteX0" fmla="*/ 56769 w 184213"/>
              <a:gd name="connsiteY0" fmla="*/ 0 h 184213"/>
              <a:gd name="connsiteX1" fmla="*/ 95821 w 184213"/>
              <a:gd name="connsiteY1" fmla="*/ 88392 h 184213"/>
              <a:gd name="connsiteX2" fmla="*/ 184214 w 184213"/>
              <a:gd name="connsiteY2" fmla="*/ 127349 h 184213"/>
              <a:gd name="connsiteX3" fmla="*/ 0 w 184213"/>
              <a:gd name="connsiteY3" fmla="*/ 184213 h 184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4213" h="184213">
                <a:moveTo>
                  <a:pt x="56769" y="0"/>
                </a:moveTo>
                <a:lnTo>
                  <a:pt x="95821" y="88392"/>
                </a:lnTo>
                <a:lnTo>
                  <a:pt x="184214" y="127349"/>
                </a:lnTo>
                <a:lnTo>
                  <a:pt x="0" y="184213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4363E3D2-3473-9584-542B-D2B30801709C}"/>
              </a:ext>
            </a:extLst>
          </p:cNvPr>
          <p:cNvSpPr/>
          <p:nvPr userDrawn="1"/>
        </p:nvSpPr>
        <p:spPr>
          <a:xfrm rot="18900000">
            <a:off x="6707732" y="3221411"/>
            <a:ext cx="205233" cy="57293"/>
          </a:xfrm>
          <a:custGeom>
            <a:avLst/>
            <a:gdLst>
              <a:gd name="connsiteX0" fmla="*/ 0 w 218025"/>
              <a:gd name="connsiteY0" fmla="*/ 0 h 60864"/>
              <a:gd name="connsiteX1" fmla="*/ 218025 w 218025"/>
              <a:gd name="connsiteY1" fmla="*/ 0 h 60864"/>
              <a:gd name="connsiteX2" fmla="*/ 218025 w 218025"/>
              <a:gd name="connsiteY2" fmla="*/ 60864 h 60864"/>
              <a:gd name="connsiteX3" fmla="*/ 0 w 218025"/>
              <a:gd name="connsiteY3" fmla="*/ 60864 h 60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025" h="60864">
                <a:moveTo>
                  <a:pt x="0" y="0"/>
                </a:moveTo>
                <a:lnTo>
                  <a:pt x="218025" y="0"/>
                </a:lnTo>
                <a:lnTo>
                  <a:pt x="218025" y="60864"/>
                </a:lnTo>
                <a:lnTo>
                  <a:pt x="0" y="60864"/>
                </a:ln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C83069AC-F2DE-4FA5-B4EA-A186208F934E}"/>
              </a:ext>
            </a:extLst>
          </p:cNvPr>
          <p:cNvSpPr/>
          <p:nvPr userDrawn="1"/>
        </p:nvSpPr>
        <p:spPr>
          <a:xfrm>
            <a:off x="6689140" y="3273893"/>
            <a:ext cx="97283" cy="97283"/>
          </a:xfrm>
          <a:custGeom>
            <a:avLst/>
            <a:gdLst>
              <a:gd name="connsiteX0" fmla="*/ 88202 w 103346"/>
              <a:gd name="connsiteY0" fmla="*/ 88202 h 103346"/>
              <a:gd name="connsiteX1" fmla="*/ 15145 w 103346"/>
              <a:gd name="connsiteY1" fmla="*/ 88202 h 103346"/>
              <a:gd name="connsiteX2" fmla="*/ 15145 w 103346"/>
              <a:gd name="connsiteY2" fmla="*/ 15145 h 103346"/>
              <a:gd name="connsiteX3" fmla="*/ 88202 w 103346"/>
              <a:gd name="connsiteY3" fmla="*/ 15145 h 103346"/>
              <a:gd name="connsiteX4" fmla="*/ 88202 w 103346"/>
              <a:gd name="connsiteY4" fmla="*/ 88202 h 103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3346" h="103346">
                <a:moveTo>
                  <a:pt x="88202" y="88202"/>
                </a:moveTo>
                <a:cubicBezTo>
                  <a:pt x="68008" y="108395"/>
                  <a:pt x="35338" y="108395"/>
                  <a:pt x="15145" y="88202"/>
                </a:cubicBezTo>
                <a:cubicBezTo>
                  <a:pt x="-5048" y="68009"/>
                  <a:pt x="-5048" y="35338"/>
                  <a:pt x="15145" y="15145"/>
                </a:cubicBezTo>
                <a:cubicBezTo>
                  <a:pt x="35338" y="-5048"/>
                  <a:pt x="68008" y="-5048"/>
                  <a:pt x="88202" y="15145"/>
                </a:cubicBezTo>
                <a:cubicBezTo>
                  <a:pt x="108395" y="35338"/>
                  <a:pt x="108395" y="68009"/>
                  <a:pt x="88202" y="88202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9441FFEE-6D60-73C0-DEB9-8C3C6407283F}"/>
              </a:ext>
            </a:extLst>
          </p:cNvPr>
          <p:cNvSpPr/>
          <p:nvPr userDrawn="1"/>
        </p:nvSpPr>
        <p:spPr>
          <a:xfrm>
            <a:off x="6677775" y="3262550"/>
            <a:ext cx="120090" cy="120079"/>
          </a:xfrm>
          <a:custGeom>
            <a:avLst/>
            <a:gdLst>
              <a:gd name="connsiteX0" fmla="*/ 108847 w 127575"/>
              <a:gd name="connsiteY0" fmla="*/ 108918 h 127563"/>
              <a:gd name="connsiteX1" fmla="*/ 18645 w 127575"/>
              <a:gd name="connsiteY1" fmla="*/ 108918 h 127563"/>
              <a:gd name="connsiteX2" fmla="*/ 18645 w 127575"/>
              <a:gd name="connsiteY2" fmla="*/ 18717 h 127563"/>
              <a:gd name="connsiteX3" fmla="*/ 108942 w 127575"/>
              <a:gd name="connsiteY3" fmla="*/ 18717 h 127563"/>
              <a:gd name="connsiteX4" fmla="*/ 108847 w 127575"/>
              <a:gd name="connsiteY4" fmla="*/ 108918 h 127563"/>
              <a:gd name="connsiteX5" fmla="*/ 35790 w 127575"/>
              <a:gd name="connsiteY5" fmla="*/ 35862 h 127563"/>
              <a:gd name="connsiteX6" fmla="*/ 24170 w 127575"/>
              <a:gd name="connsiteY6" fmla="*/ 63770 h 127563"/>
              <a:gd name="connsiteX7" fmla="*/ 35790 w 127575"/>
              <a:gd name="connsiteY7" fmla="*/ 91678 h 127563"/>
              <a:gd name="connsiteX8" fmla="*/ 91607 w 127575"/>
              <a:gd name="connsiteY8" fmla="*/ 91678 h 127563"/>
              <a:gd name="connsiteX9" fmla="*/ 91607 w 127575"/>
              <a:gd name="connsiteY9" fmla="*/ 35766 h 127563"/>
              <a:gd name="connsiteX10" fmla="*/ 35790 w 127575"/>
              <a:gd name="connsiteY10" fmla="*/ 35862 h 1275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7575" h="127563">
                <a:moveTo>
                  <a:pt x="108847" y="108918"/>
                </a:moveTo>
                <a:cubicBezTo>
                  <a:pt x="83987" y="133779"/>
                  <a:pt x="43505" y="133779"/>
                  <a:pt x="18645" y="108918"/>
                </a:cubicBezTo>
                <a:cubicBezTo>
                  <a:pt x="-6215" y="84058"/>
                  <a:pt x="-6215" y="43577"/>
                  <a:pt x="18645" y="18717"/>
                </a:cubicBezTo>
                <a:cubicBezTo>
                  <a:pt x="43601" y="-6239"/>
                  <a:pt x="84082" y="-6239"/>
                  <a:pt x="108942" y="18717"/>
                </a:cubicBezTo>
                <a:cubicBezTo>
                  <a:pt x="133803" y="43482"/>
                  <a:pt x="133803" y="83963"/>
                  <a:pt x="108847" y="108918"/>
                </a:cubicBezTo>
                <a:close/>
                <a:moveTo>
                  <a:pt x="35790" y="35862"/>
                </a:moveTo>
                <a:cubicBezTo>
                  <a:pt x="28361" y="43291"/>
                  <a:pt x="24170" y="53197"/>
                  <a:pt x="24170" y="63770"/>
                </a:cubicBezTo>
                <a:cubicBezTo>
                  <a:pt x="24170" y="74247"/>
                  <a:pt x="28266" y="84249"/>
                  <a:pt x="35790" y="91678"/>
                </a:cubicBezTo>
                <a:cubicBezTo>
                  <a:pt x="51221" y="107109"/>
                  <a:pt x="76271" y="107013"/>
                  <a:pt x="91607" y="91678"/>
                </a:cubicBezTo>
                <a:cubicBezTo>
                  <a:pt x="107037" y="76248"/>
                  <a:pt x="107037" y="51197"/>
                  <a:pt x="91607" y="35766"/>
                </a:cubicBezTo>
                <a:cubicBezTo>
                  <a:pt x="76271" y="20431"/>
                  <a:pt x="51221" y="20431"/>
                  <a:pt x="35790" y="35862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37638F5A-F400-21B6-9494-2711220A9E4E}"/>
              </a:ext>
            </a:extLst>
          </p:cNvPr>
          <p:cNvSpPr/>
          <p:nvPr userDrawn="1"/>
        </p:nvSpPr>
        <p:spPr>
          <a:xfrm>
            <a:off x="6778801" y="3108108"/>
            <a:ext cx="173405" cy="173405"/>
          </a:xfrm>
          <a:custGeom>
            <a:avLst/>
            <a:gdLst>
              <a:gd name="connsiteX0" fmla="*/ 127349 w 184213"/>
              <a:gd name="connsiteY0" fmla="*/ 184214 h 184213"/>
              <a:gd name="connsiteX1" fmla="*/ 88392 w 184213"/>
              <a:gd name="connsiteY1" fmla="*/ 95822 h 184213"/>
              <a:gd name="connsiteX2" fmla="*/ 0 w 184213"/>
              <a:gd name="connsiteY2" fmla="*/ 56769 h 184213"/>
              <a:gd name="connsiteX3" fmla="*/ 184214 w 184213"/>
              <a:gd name="connsiteY3" fmla="*/ 0 h 184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4213" h="184213">
                <a:moveTo>
                  <a:pt x="127349" y="184214"/>
                </a:moveTo>
                <a:lnTo>
                  <a:pt x="88392" y="95822"/>
                </a:lnTo>
                <a:lnTo>
                  <a:pt x="0" y="56769"/>
                </a:lnTo>
                <a:lnTo>
                  <a:pt x="184214" y="0"/>
                </a:ln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5" name="Title 43">
            <a:extLst>
              <a:ext uri="{FF2B5EF4-FFF2-40B4-BE49-F238E27FC236}">
                <a16:creationId xmlns:a16="http://schemas.microsoft.com/office/drawing/2014/main" id="{06FD54F9-2FDB-135C-4948-9205D62A80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53" y="399899"/>
            <a:ext cx="11400896" cy="864810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61" name="Text Placeholder 60">
            <a:extLst>
              <a:ext uri="{FF2B5EF4-FFF2-40B4-BE49-F238E27FC236}">
                <a16:creationId xmlns:a16="http://schemas.microsoft.com/office/drawing/2014/main" id="{99D30DED-4623-FCBC-E84C-9574805741C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16019" y="2780215"/>
            <a:ext cx="2520157" cy="3042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33" b="1">
                <a:solidFill>
                  <a:schemeClr val="accent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63" name="Text Placeholder 62">
            <a:extLst>
              <a:ext uri="{FF2B5EF4-FFF2-40B4-BE49-F238E27FC236}">
                <a16:creationId xmlns:a16="http://schemas.microsoft.com/office/drawing/2014/main" id="{13456B0A-F589-CB73-B3B0-59B4B1935F0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01857" y="3086219"/>
            <a:ext cx="2520157" cy="619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/>
            </a:lvl1pPr>
          </a:lstStyle>
          <a:p>
            <a:pPr lvl="0"/>
            <a:endParaRPr lang="en-GB"/>
          </a:p>
        </p:txBody>
      </p:sp>
      <p:sp>
        <p:nvSpPr>
          <p:cNvPr id="64" name="Text Placeholder 60">
            <a:extLst>
              <a:ext uri="{FF2B5EF4-FFF2-40B4-BE49-F238E27FC236}">
                <a16:creationId xmlns:a16="http://schemas.microsoft.com/office/drawing/2014/main" id="{BA21B5B5-81F7-75EC-49F0-031794173D1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076948" y="2781949"/>
            <a:ext cx="2520155" cy="3042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33" b="1">
                <a:solidFill>
                  <a:schemeClr val="accent2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65" name="Text Placeholder 62">
            <a:extLst>
              <a:ext uri="{FF2B5EF4-FFF2-40B4-BE49-F238E27FC236}">
                <a16:creationId xmlns:a16="http://schemas.microsoft.com/office/drawing/2014/main" id="{20B1D85A-055E-5B84-EC4C-25410943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066185" y="3104432"/>
            <a:ext cx="2520157" cy="619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/>
            </a:lvl1pPr>
          </a:lstStyle>
          <a:p>
            <a:pPr lvl="0"/>
            <a:endParaRPr lang="en-GB"/>
          </a:p>
        </p:txBody>
      </p:sp>
      <p:sp>
        <p:nvSpPr>
          <p:cNvPr id="66" name="Text Placeholder 60">
            <a:extLst>
              <a:ext uri="{FF2B5EF4-FFF2-40B4-BE49-F238E27FC236}">
                <a16:creationId xmlns:a16="http://schemas.microsoft.com/office/drawing/2014/main" id="{CA9957F8-9B43-DA0D-75CE-D5BBB0BFD32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605961" y="4499476"/>
            <a:ext cx="2507770" cy="3042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33" b="1">
                <a:solidFill>
                  <a:schemeClr val="accent3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67" name="Text Placeholder 62">
            <a:extLst>
              <a:ext uri="{FF2B5EF4-FFF2-40B4-BE49-F238E27FC236}">
                <a16:creationId xmlns:a16="http://schemas.microsoft.com/office/drawing/2014/main" id="{D63154F1-19E7-717C-A68E-D1026718D25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593574" y="4803747"/>
            <a:ext cx="2520157" cy="619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/>
            </a:lvl1pPr>
          </a:lstStyle>
          <a:p>
            <a:pPr lvl="0"/>
            <a:endParaRPr lang="en-GB"/>
          </a:p>
        </p:txBody>
      </p:sp>
      <p:sp>
        <p:nvSpPr>
          <p:cNvPr id="68" name="Text Placeholder 60">
            <a:extLst>
              <a:ext uri="{FF2B5EF4-FFF2-40B4-BE49-F238E27FC236}">
                <a16:creationId xmlns:a16="http://schemas.microsoft.com/office/drawing/2014/main" id="{2CC652B4-7FE7-5BB2-62E8-A11FB15E81B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069017" y="4480550"/>
            <a:ext cx="2508384" cy="3042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33" b="1">
                <a:solidFill>
                  <a:schemeClr val="accent4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69" name="Text Placeholder 62">
            <a:extLst>
              <a:ext uri="{FF2B5EF4-FFF2-40B4-BE49-F238E27FC236}">
                <a16:creationId xmlns:a16="http://schemas.microsoft.com/office/drawing/2014/main" id="{3ACBDF4E-4205-0108-4BD6-0F082133002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057244" y="4796025"/>
            <a:ext cx="2520157" cy="619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/>
            </a:lvl1pPr>
          </a:lstStyle>
          <a:p>
            <a:pPr lvl="0"/>
            <a:endParaRPr lang="en-GB"/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88613129-AF4A-0161-6991-8B5CACC027F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170815" y="2241145"/>
            <a:ext cx="505271" cy="5052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33"/>
            </a:lvl1pPr>
          </a:lstStyle>
          <a:p>
            <a:endParaRPr lang="en-GB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9878AFAF-23A6-812F-9E06-A6B95EC1FC5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2709334" y="3962900"/>
            <a:ext cx="505271" cy="5052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33"/>
            </a:lvl1pPr>
          </a:lstStyle>
          <a:p>
            <a:endParaRPr lang="en-GB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327A29EC-4327-AFE3-59FC-906B80DF799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170815" y="3962900"/>
            <a:ext cx="505271" cy="5052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33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7292697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DAC02F-A3B2-6BAC-70CD-FA658F9F57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6588" y="399899"/>
            <a:ext cx="11400896" cy="864810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9C924F-A152-2726-B8E8-E209D40EAC1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9608" y="1273674"/>
            <a:ext cx="11416840" cy="360948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E6FBE8A7-3B20-5872-CE6E-3B8DB0EAC297}"/>
              </a:ext>
            </a:extLst>
          </p:cNvPr>
          <p:cNvCxnSpPr>
            <a:cxnSpLocks/>
          </p:cNvCxnSpPr>
          <p:nvPr userDrawn="1"/>
        </p:nvCxnSpPr>
        <p:spPr>
          <a:xfrm>
            <a:off x="6096448" y="2102372"/>
            <a:ext cx="8018" cy="4247628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C5488196-254C-8D70-12B6-D93484700C51}"/>
              </a:ext>
            </a:extLst>
          </p:cNvPr>
          <p:cNvCxnSpPr>
            <a:cxnSpLocks/>
          </p:cNvCxnSpPr>
          <p:nvPr userDrawn="1"/>
        </p:nvCxnSpPr>
        <p:spPr>
          <a:xfrm>
            <a:off x="387371" y="4303193"/>
            <a:ext cx="11400928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Graphic 13">
            <a:extLst>
              <a:ext uri="{FF2B5EF4-FFF2-40B4-BE49-F238E27FC236}">
                <a16:creationId xmlns:a16="http://schemas.microsoft.com/office/drawing/2014/main" id="{72832360-900C-30DE-DB33-5199FB802AE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64322" y="4348150"/>
            <a:ext cx="609600" cy="609600"/>
          </a:xfrm>
          <a:prstGeom prst="rect">
            <a:avLst/>
          </a:prstGeom>
        </p:spPr>
      </p:pic>
      <p:pic>
        <p:nvPicPr>
          <p:cNvPr id="45" name="Graphic 42">
            <a:extLst>
              <a:ext uri="{FF2B5EF4-FFF2-40B4-BE49-F238E27FC236}">
                <a16:creationId xmlns:a16="http://schemas.microsoft.com/office/drawing/2014/main" id="{3AF1CD1C-B90C-6EBB-3F19-1FAE98A3457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schemeClr val="accent4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223038" y="4357175"/>
            <a:ext cx="609600" cy="609600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CE6A4245-09FD-A8F4-7E90-72A27D9CE9D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225054" y="2124251"/>
            <a:ext cx="609600" cy="609600"/>
          </a:xfrm>
          <a:prstGeom prst="rect">
            <a:avLst/>
          </a:prstGeom>
        </p:spPr>
      </p:pic>
      <p:sp>
        <p:nvSpPr>
          <p:cNvPr id="47" name="Oval 46">
            <a:extLst>
              <a:ext uri="{FF2B5EF4-FFF2-40B4-BE49-F238E27FC236}">
                <a16:creationId xmlns:a16="http://schemas.microsoft.com/office/drawing/2014/main" id="{2A90405C-5C32-7A8C-3051-EA9A381D9AFA}"/>
              </a:ext>
            </a:extLst>
          </p:cNvPr>
          <p:cNvSpPr/>
          <p:nvPr userDrawn="1"/>
        </p:nvSpPr>
        <p:spPr bwMode="auto">
          <a:xfrm>
            <a:off x="5487621" y="3691932"/>
            <a:ext cx="1244135" cy="1244135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7235" tIns="33618" rIns="67235" bIns="33618" numCol="1" rtlCol="0" anchor="ctr" anchorCtr="0" compatLnSpc="1">
            <a:prstTxWarp prst="textNoShape">
              <a:avLst/>
            </a:prstTxWarp>
          </a:bodyPr>
          <a:lstStyle/>
          <a:p>
            <a:pPr algn="ctr" defTabSz="749403" fontAlgn="base">
              <a:spcBef>
                <a:spcPct val="0"/>
              </a:spcBef>
              <a:spcAft>
                <a:spcPct val="0"/>
              </a:spcAft>
            </a:pPr>
            <a:endParaRPr lang="en-US" sz="2000" b="1">
              <a:solidFill>
                <a:schemeClr val="bg1"/>
              </a:solidFill>
            </a:endParaRPr>
          </a:p>
        </p:txBody>
      </p:sp>
      <p:pic>
        <p:nvPicPr>
          <p:cNvPr id="48" name="Graphic 206">
            <a:extLst>
              <a:ext uri="{FF2B5EF4-FFF2-40B4-BE49-F238E27FC236}">
                <a16:creationId xmlns:a16="http://schemas.microsoft.com/office/drawing/2014/main" id="{E81F4926-1201-EE14-8C1D-D6F78A0FC2B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62467" y="2032943"/>
            <a:ext cx="609600" cy="609600"/>
          </a:xfrm>
          <a:prstGeom prst="rect">
            <a:avLst/>
          </a:prstGeom>
        </p:spPr>
      </p:pic>
      <p:sp>
        <p:nvSpPr>
          <p:cNvPr id="50" name="Text Placeholder 49">
            <a:extLst>
              <a:ext uri="{FF2B5EF4-FFF2-40B4-BE49-F238E27FC236}">
                <a16:creationId xmlns:a16="http://schemas.microsoft.com/office/drawing/2014/main" id="{6AEE8D00-65C6-21C2-AD58-6C61BD6F7D8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62467" y="2734143"/>
            <a:ext cx="4143375" cy="226219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500" b="1">
                <a:solidFill>
                  <a:schemeClr val="accent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52" name="Text Placeholder 51">
            <a:extLst>
              <a:ext uri="{FF2B5EF4-FFF2-40B4-BE49-F238E27FC236}">
                <a16:creationId xmlns:a16="http://schemas.microsoft.com/office/drawing/2014/main" id="{F64108A3-2286-8D6F-0DC4-66A09759D0A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395" y="3114506"/>
            <a:ext cx="4955646" cy="1079500"/>
          </a:xfrm>
          <a:prstGeom prst="rect">
            <a:avLst/>
          </a:prstGeom>
        </p:spPr>
        <p:txBody>
          <a:bodyPr/>
          <a:lstStyle>
            <a:lvl1pPr marL="238115" indent="-238115">
              <a:buFont typeface="Arial" panose="020B0604020202020204" pitchFamily="34" charset="0"/>
              <a:buChar char="•"/>
              <a:defRPr sz="1167"/>
            </a:lvl1pPr>
          </a:lstStyle>
          <a:p>
            <a:pPr lvl="0"/>
            <a:endParaRPr lang="en-GB"/>
          </a:p>
        </p:txBody>
      </p:sp>
      <p:sp>
        <p:nvSpPr>
          <p:cNvPr id="53" name="Text Placeholder 49">
            <a:extLst>
              <a:ext uri="{FF2B5EF4-FFF2-40B4-BE49-F238E27FC236}">
                <a16:creationId xmlns:a16="http://schemas.microsoft.com/office/drawing/2014/main" id="{225D6C92-0D90-F9A6-8695-46D4F5E0554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62467" y="5138706"/>
            <a:ext cx="4143375" cy="226219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500" b="1">
                <a:solidFill>
                  <a:schemeClr val="accent3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54" name="Text Placeholder 51">
            <a:extLst>
              <a:ext uri="{FF2B5EF4-FFF2-40B4-BE49-F238E27FC236}">
                <a16:creationId xmlns:a16="http://schemas.microsoft.com/office/drawing/2014/main" id="{0793BD64-D8AD-0AE6-1D73-AEB3844139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0963" y="5532670"/>
            <a:ext cx="4955646" cy="925431"/>
          </a:xfrm>
          <a:prstGeom prst="rect">
            <a:avLst/>
          </a:prstGeom>
        </p:spPr>
        <p:txBody>
          <a:bodyPr/>
          <a:lstStyle>
            <a:lvl1pPr marL="238115" indent="-238115">
              <a:buFont typeface="Arial" panose="020B0604020202020204" pitchFamily="34" charset="0"/>
              <a:buChar char="•"/>
              <a:defRPr sz="1167"/>
            </a:lvl1pPr>
          </a:lstStyle>
          <a:p>
            <a:pPr lvl="0"/>
            <a:endParaRPr lang="en-GB"/>
          </a:p>
        </p:txBody>
      </p:sp>
      <p:sp>
        <p:nvSpPr>
          <p:cNvPr id="56" name="Text Placeholder 49">
            <a:extLst>
              <a:ext uri="{FF2B5EF4-FFF2-40B4-BE49-F238E27FC236}">
                <a16:creationId xmlns:a16="http://schemas.microsoft.com/office/drawing/2014/main" id="{C7CD112C-F166-015E-CC19-65FE55BB5C3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183385" y="2739277"/>
            <a:ext cx="4143375" cy="226219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500" b="1">
                <a:solidFill>
                  <a:schemeClr val="accent2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57" name="Text Placeholder 51">
            <a:extLst>
              <a:ext uri="{FF2B5EF4-FFF2-40B4-BE49-F238E27FC236}">
                <a16:creationId xmlns:a16="http://schemas.microsoft.com/office/drawing/2014/main" id="{5AD39285-24FF-CB6E-F28C-20B7089B844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183385" y="3109340"/>
            <a:ext cx="4955646" cy="1079500"/>
          </a:xfrm>
          <a:prstGeom prst="rect">
            <a:avLst/>
          </a:prstGeom>
        </p:spPr>
        <p:txBody>
          <a:bodyPr/>
          <a:lstStyle>
            <a:lvl1pPr marL="238115" indent="-238115">
              <a:buFont typeface="Arial" panose="020B0604020202020204" pitchFamily="34" charset="0"/>
              <a:buChar char="•"/>
              <a:defRPr sz="1167"/>
            </a:lvl1pPr>
          </a:lstStyle>
          <a:p>
            <a:pPr lvl="0"/>
            <a:endParaRPr lang="en-GB"/>
          </a:p>
        </p:txBody>
      </p:sp>
      <p:sp>
        <p:nvSpPr>
          <p:cNvPr id="58" name="Text Placeholder 49">
            <a:extLst>
              <a:ext uri="{FF2B5EF4-FFF2-40B4-BE49-F238E27FC236}">
                <a16:creationId xmlns:a16="http://schemas.microsoft.com/office/drawing/2014/main" id="{303AFE98-8331-CF2A-362F-A682CE0D949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183385" y="5138705"/>
            <a:ext cx="4143375" cy="226219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500" b="1">
                <a:solidFill>
                  <a:schemeClr val="accent4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59" name="Text Placeholder 51">
            <a:extLst>
              <a:ext uri="{FF2B5EF4-FFF2-40B4-BE49-F238E27FC236}">
                <a16:creationId xmlns:a16="http://schemas.microsoft.com/office/drawing/2014/main" id="{0583CFF5-A437-F972-A78B-DD51319474C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183385" y="5515204"/>
            <a:ext cx="4955646" cy="925431"/>
          </a:xfrm>
          <a:prstGeom prst="rect">
            <a:avLst/>
          </a:prstGeom>
        </p:spPr>
        <p:txBody>
          <a:bodyPr/>
          <a:lstStyle>
            <a:lvl1pPr marL="238115" indent="-238115">
              <a:buFont typeface="Arial" panose="020B0604020202020204" pitchFamily="34" charset="0"/>
              <a:buChar char="•"/>
              <a:defRPr sz="1167"/>
            </a:lvl1pPr>
          </a:lstStyle>
          <a:p>
            <a:pPr lvl="0"/>
            <a:endParaRPr lang="en-GB"/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70E787DA-9102-D20F-40FB-86621A76DF9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450284" y="3659155"/>
            <a:ext cx="1308365" cy="13096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Item</a:t>
            </a:r>
          </a:p>
        </p:txBody>
      </p:sp>
    </p:spTree>
    <p:extLst>
      <p:ext uri="{BB962C8B-B14F-4D97-AF65-F5344CB8AC3E}">
        <p14:creationId xmlns:p14="http://schemas.microsoft.com/office/powerpoint/2010/main" val="19813298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 3_edi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B6B936B-A64A-B785-26E2-48536F62BE4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261937" y="2024062"/>
            <a:ext cx="624417" cy="6244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33"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DAC02F-A3B2-6BAC-70CD-FA658F9F57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6588" y="399899"/>
            <a:ext cx="11400896" cy="864810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9C924F-A152-2726-B8E8-E209D40EAC1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9608" y="1273674"/>
            <a:ext cx="11416840" cy="360948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E6FBE8A7-3B20-5872-CE6E-3B8DB0EAC297}"/>
              </a:ext>
            </a:extLst>
          </p:cNvPr>
          <p:cNvCxnSpPr>
            <a:cxnSpLocks/>
          </p:cNvCxnSpPr>
          <p:nvPr userDrawn="1"/>
        </p:nvCxnSpPr>
        <p:spPr>
          <a:xfrm>
            <a:off x="6096448" y="2102372"/>
            <a:ext cx="8018" cy="4247628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C5488196-254C-8D70-12B6-D93484700C51}"/>
              </a:ext>
            </a:extLst>
          </p:cNvPr>
          <p:cNvCxnSpPr>
            <a:cxnSpLocks/>
          </p:cNvCxnSpPr>
          <p:nvPr userDrawn="1"/>
        </p:nvCxnSpPr>
        <p:spPr>
          <a:xfrm>
            <a:off x="387371" y="4303193"/>
            <a:ext cx="11400928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2A90405C-5C32-7A8C-3051-EA9A381D9AFA}"/>
              </a:ext>
            </a:extLst>
          </p:cNvPr>
          <p:cNvSpPr/>
          <p:nvPr userDrawn="1"/>
        </p:nvSpPr>
        <p:spPr bwMode="auto">
          <a:xfrm>
            <a:off x="5487621" y="3691932"/>
            <a:ext cx="1244135" cy="1244135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7235" tIns="33618" rIns="67235" bIns="33618" numCol="1" rtlCol="0" anchor="ctr" anchorCtr="0" compatLnSpc="1">
            <a:prstTxWarp prst="textNoShape">
              <a:avLst/>
            </a:prstTxWarp>
          </a:bodyPr>
          <a:lstStyle/>
          <a:p>
            <a:pPr algn="ctr" defTabSz="749403" fontAlgn="base">
              <a:spcBef>
                <a:spcPct val="0"/>
              </a:spcBef>
              <a:spcAft>
                <a:spcPct val="0"/>
              </a:spcAft>
            </a:pPr>
            <a:endParaRPr lang="en-US" sz="2000" b="1">
              <a:solidFill>
                <a:schemeClr val="bg1"/>
              </a:solidFill>
            </a:endParaRPr>
          </a:p>
        </p:txBody>
      </p:sp>
      <p:sp>
        <p:nvSpPr>
          <p:cNvPr id="50" name="Text Placeholder 49">
            <a:extLst>
              <a:ext uri="{FF2B5EF4-FFF2-40B4-BE49-F238E27FC236}">
                <a16:creationId xmlns:a16="http://schemas.microsoft.com/office/drawing/2014/main" id="{6AEE8D00-65C6-21C2-AD58-6C61BD6F7D8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62467" y="2734143"/>
            <a:ext cx="5024142" cy="226219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500" b="1">
                <a:solidFill>
                  <a:schemeClr val="accent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52" name="Text Placeholder 51">
            <a:extLst>
              <a:ext uri="{FF2B5EF4-FFF2-40B4-BE49-F238E27FC236}">
                <a16:creationId xmlns:a16="http://schemas.microsoft.com/office/drawing/2014/main" id="{F64108A3-2286-8D6F-0DC4-66A09759D0A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395" y="3114506"/>
            <a:ext cx="4955646" cy="1079500"/>
          </a:xfrm>
          <a:prstGeom prst="rect">
            <a:avLst/>
          </a:prstGeom>
        </p:spPr>
        <p:txBody>
          <a:bodyPr/>
          <a:lstStyle>
            <a:lvl1pPr marL="238115" indent="-238115">
              <a:buFont typeface="Arial" panose="020B0604020202020204" pitchFamily="34" charset="0"/>
              <a:buChar char="•"/>
              <a:defRPr sz="1167"/>
            </a:lvl1pPr>
          </a:lstStyle>
          <a:p>
            <a:pPr lvl="0"/>
            <a:endParaRPr lang="en-GB"/>
          </a:p>
        </p:txBody>
      </p:sp>
      <p:sp>
        <p:nvSpPr>
          <p:cNvPr id="53" name="Text Placeholder 49">
            <a:extLst>
              <a:ext uri="{FF2B5EF4-FFF2-40B4-BE49-F238E27FC236}">
                <a16:creationId xmlns:a16="http://schemas.microsoft.com/office/drawing/2014/main" id="{225D6C92-0D90-F9A6-8695-46D4F5E0554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62467" y="5138706"/>
            <a:ext cx="5024142" cy="226219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500" b="1">
                <a:solidFill>
                  <a:schemeClr val="accent3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54" name="Text Placeholder 51">
            <a:extLst>
              <a:ext uri="{FF2B5EF4-FFF2-40B4-BE49-F238E27FC236}">
                <a16:creationId xmlns:a16="http://schemas.microsoft.com/office/drawing/2014/main" id="{0793BD64-D8AD-0AE6-1D73-AEB3844139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0963" y="5532670"/>
            <a:ext cx="4955646" cy="925431"/>
          </a:xfrm>
          <a:prstGeom prst="rect">
            <a:avLst/>
          </a:prstGeom>
        </p:spPr>
        <p:txBody>
          <a:bodyPr/>
          <a:lstStyle>
            <a:lvl1pPr marL="238115" indent="-238115">
              <a:buFont typeface="Arial" panose="020B0604020202020204" pitchFamily="34" charset="0"/>
              <a:buChar char="•"/>
              <a:defRPr sz="1167"/>
            </a:lvl1pPr>
          </a:lstStyle>
          <a:p>
            <a:pPr lvl="0"/>
            <a:endParaRPr lang="en-GB"/>
          </a:p>
        </p:txBody>
      </p:sp>
      <p:sp>
        <p:nvSpPr>
          <p:cNvPr id="56" name="Text Placeholder 49">
            <a:extLst>
              <a:ext uri="{FF2B5EF4-FFF2-40B4-BE49-F238E27FC236}">
                <a16:creationId xmlns:a16="http://schemas.microsoft.com/office/drawing/2014/main" id="{C7CD112C-F166-015E-CC19-65FE55BB5C3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183385" y="2739277"/>
            <a:ext cx="5024142" cy="226219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500" b="1">
                <a:solidFill>
                  <a:schemeClr val="accent2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57" name="Text Placeholder 51">
            <a:extLst>
              <a:ext uri="{FF2B5EF4-FFF2-40B4-BE49-F238E27FC236}">
                <a16:creationId xmlns:a16="http://schemas.microsoft.com/office/drawing/2014/main" id="{5AD39285-24FF-CB6E-F28C-20B7089B844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183385" y="3109340"/>
            <a:ext cx="4955646" cy="1079500"/>
          </a:xfrm>
          <a:prstGeom prst="rect">
            <a:avLst/>
          </a:prstGeom>
        </p:spPr>
        <p:txBody>
          <a:bodyPr/>
          <a:lstStyle>
            <a:lvl1pPr marL="238115" indent="-238115">
              <a:buFont typeface="Arial" panose="020B0604020202020204" pitchFamily="34" charset="0"/>
              <a:buChar char="•"/>
              <a:defRPr sz="1167"/>
            </a:lvl1pPr>
          </a:lstStyle>
          <a:p>
            <a:pPr lvl="0"/>
            <a:endParaRPr lang="en-GB"/>
          </a:p>
        </p:txBody>
      </p:sp>
      <p:sp>
        <p:nvSpPr>
          <p:cNvPr id="58" name="Text Placeholder 49">
            <a:extLst>
              <a:ext uri="{FF2B5EF4-FFF2-40B4-BE49-F238E27FC236}">
                <a16:creationId xmlns:a16="http://schemas.microsoft.com/office/drawing/2014/main" id="{303AFE98-8331-CF2A-362F-A682CE0D949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183385" y="5138705"/>
            <a:ext cx="5024142" cy="226219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500" b="1">
                <a:solidFill>
                  <a:schemeClr val="accent4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59" name="Text Placeholder 51">
            <a:extLst>
              <a:ext uri="{FF2B5EF4-FFF2-40B4-BE49-F238E27FC236}">
                <a16:creationId xmlns:a16="http://schemas.microsoft.com/office/drawing/2014/main" id="{0583CFF5-A437-F972-A78B-DD51319474C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183385" y="5515204"/>
            <a:ext cx="4955646" cy="925431"/>
          </a:xfrm>
          <a:prstGeom prst="rect">
            <a:avLst/>
          </a:prstGeom>
        </p:spPr>
        <p:txBody>
          <a:bodyPr/>
          <a:lstStyle>
            <a:lvl1pPr marL="238115" indent="-238115">
              <a:buFont typeface="Arial" panose="020B0604020202020204" pitchFamily="34" charset="0"/>
              <a:buChar char="•"/>
              <a:defRPr sz="1167"/>
            </a:lvl1pPr>
          </a:lstStyle>
          <a:p>
            <a:pPr lvl="0"/>
            <a:endParaRPr lang="en-GB"/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70E787DA-9102-D20F-40FB-86621A76DF9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450284" y="3659155"/>
            <a:ext cx="1308365" cy="13096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Item</a:t>
            </a:r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5F9D748C-ECA1-9D3B-EA02-C6BCD439496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170657" y="2024062"/>
            <a:ext cx="624417" cy="6244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33"/>
            </a:lvl1pPr>
          </a:lstStyle>
          <a:p>
            <a:endParaRPr lang="en-GB"/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D4BCF038-7436-0F96-AA52-FBEBD7BDBE2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261937" y="4427507"/>
            <a:ext cx="624417" cy="6244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33"/>
            </a:lvl1pPr>
          </a:lstStyle>
          <a:p>
            <a:endParaRPr lang="en-GB"/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03649827-E296-B395-D4EF-3BFA3D129BC5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170657" y="4427507"/>
            <a:ext cx="624417" cy="6244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33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198676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1">
            <a:extLst>
              <a:ext uri="{FF2B5EF4-FFF2-40B4-BE49-F238E27FC236}">
                <a16:creationId xmlns:a16="http://schemas.microsoft.com/office/drawing/2014/main" id="{1621CBEA-D092-343B-F4FC-72E7DC90C8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6588" y="399899"/>
            <a:ext cx="11400896" cy="864810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6F3C55E8-B63D-1809-D61B-E1D2776DA4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9608" y="1273674"/>
            <a:ext cx="11416840" cy="360948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53921FE-543F-2193-D340-4721C41EB30B}"/>
              </a:ext>
            </a:extLst>
          </p:cNvPr>
          <p:cNvSpPr/>
          <p:nvPr userDrawn="1"/>
        </p:nvSpPr>
        <p:spPr>
          <a:xfrm>
            <a:off x="5418000" y="3169364"/>
            <a:ext cx="1356000" cy="1357216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d-ID" sz="450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500D468-F594-C111-C76E-C30864989F50}"/>
              </a:ext>
            </a:extLst>
          </p:cNvPr>
          <p:cNvCxnSpPr>
            <a:cxnSpLocks/>
          </p:cNvCxnSpPr>
          <p:nvPr userDrawn="1"/>
        </p:nvCxnSpPr>
        <p:spPr>
          <a:xfrm>
            <a:off x="6100828" y="1634622"/>
            <a:ext cx="0" cy="4632143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4843EF6-3DB6-9BA0-62C0-4E1E8F9A236A}"/>
              </a:ext>
            </a:extLst>
          </p:cNvPr>
          <p:cNvCxnSpPr>
            <a:cxnSpLocks/>
          </p:cNvCxnSpPr>
          <p:nvPr userDrawn="1"/>
        </p:nvCxnSpPr>
        <p:spPr>
          <a:xfrm>
            <a:off x="402898" y="3847971"/>
            <a:ext cx="11393551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7C0D7EF3-7102-7025-1DDB-FBF83DA5DC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6782" y="1691035"/>
            <a:ext cx="4716534" cy="31220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333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sz="1333" b="1"/>
              <a:t>Strength </a:t>
            </a:r>
            <a:endParaRPr lang="en-GB"/>
          </a:p>
        </p:txBody>
      </p:sp>
      <p:sp>
        <p:nvSpPr>
          <p:cNvPr id="47" name="Text Placeholder 45">
            <a:extLst>
              <a:ext uri="{FF2B5EF4-FFF2-40B4-BE49-F238E27FC236}">
                <a16:creationId xmlns:a16="http://schemas.microsoft.com/office/drawing/2014/main" id="{EC9E6392-E4B1-5F6A-9279-B4E1FBE3568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89041" y="1691505"/>
            <a:ext cx="4716534" cy="31220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333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sz="1333" b="1"/>
              <a:t>Weakness </a:t>
            </a:r>
            <a:endParaRPr lang="en-GB"/>
          </a:p>
        </p:txBody>
      </p:sp>
      <p:sp>
        <p:nvSpPr>
          <p:cNvPr id="48" name="Text Placeholder 45">
            <a:extLst>
              <a:ext uri="{FF2B5EF4-FFF2-40B4-BE49-F238E27FC236}">
                <a16:creationId xmlns:a16="http://schemas.microsoft.com/office/drawing/2014/main" id="{2A590366-0F04-8955-0063-4742A52B66B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500" y="4095496"/>
            <a:ext cx="4716534" cy="31220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333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sz="1333" b="1"/>
              <a:t>Threat</a:t>
            </a:r>
            <a:endParaRPr lang="en-GB"/>
          </a:p>
        </p:txBody>
      </p:sp>
      <p:sp>
        <p:nvSpPr>
          <p:cNvPr id="49" name="Text Placeholder 45">
            <a:extLst>
              <a:ext uri="{FF2B5EF4-FFF2-40B4-BE49-F238E27FC236}">
                <a16:creationId xmlns:a16="http://schemas.microsoft.com/office/drawing/2014/main" id="{1475BC70-65E6-FBF3-150D-5E8BDDFFBC2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89041" y="4095496"/>
            <a:ext cx="4716534" cy="31220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333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sz="1333" b="1"/>
              <a:t>Opportunity </a:t>
            </a:r>
            <a:endParaRPr lang="en-GB"/>
          </a:p>
        </p:txBody>
      </p:sp>
      <p:sp>
        <p:nvSpPr>
          <p:cNvPr id="51" name="Text Placeholder 50">
            <a:extLst>
              <a:ext uri="{FF2B5EF4-FFF2-40B4-BE49-F238E27FC236}">
                <a16:creationId xmlns:a16="http://schemas.microsoft.com/office/drawing/2014/main" id="{F70A748A-7029-09FA-AFAC-DD00475DFF2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96782" y="2013054"/>
            <a:ext cx="4718843" cy="388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endParaRPr lang="en-GB"/>
          </a:p>
        </p:txBody>
      </p:sp>
      <p:sp>
        <p:nvSpPr>
          <p:cNvPr id="52" name="Text Placeholder 50">
            <a:extLst>
              <a:ext uri="{FF2B5EF4-FFF2-40B4-BE49-F238E27FC236}">
                <a16:creationId xmlns:a16="http://schemas.microsoft.com/office/drawing/2014/main" id="{3536025D-A222-A05C-079A-0AA5D753B52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989040" y="2013054"/>
            <a:ext cx="4718843" cy="388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endParaRPr lang="en-GB"/>
          </a:p>
        </p:txBody>
      </p:sp>
      <p:sp>
        <p:nvSpPr>
          <p:cNvPr id="53" name="Text Placeholder 50">
            <a:extLst>
              <a:ext uri="{FF2B5EF4-FFF2-40B4-BE49-F238E27FC236}">
                <a16:creationId xmlns:a16="http://schemas.microsoft.com/office/drawing/2014/main" id="{C47F9016-3314-37FC-98B7-165F815042C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8499" y="4420873"/>
            <a:ext cx="4718843" cy="388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endParaRPr lang="en-GB"/>
          </a:p>
        </p:txBody>
      </p:sp>
      <p:sp>
        <p:nvSpPr>
          <p:cNvPr id="54" name="Text Placeholder 50">
            <a:extLst>
              <a:ext uri="{FF2B5EF4-FFF2-40B4-BE49-F238E27FC236}">
                <a16:creationId xmlns:a16="http://schemas.microsoft.com/office/drawing/2014/main" id="{F45FC095-993D-CC7C-DC22-9D6777E6BF9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986731" y="4420872"/>
            <a:ext cx="4718843" cy="388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endParaRPr lang="en-GB"/>
          </a:p>
        </p:txBody>
      </p:sp>
      <p:sp>
        <p:nvSpPr>
          <p:cNvPr id="56" name="Text Placeholder 55">
            <a:extLst>
              <a:ext uri="{FF2B5EF4-FFF2-40B4-BE49-F238E27FC236}">
                <a16:creationId xmlns:a16="http://schemas.microsoft.com/office/drawing/2014/main" id="{A22FEEA8-FA7F-77B9-E8FE-AAAE524B59B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0653" y="3329103"/>
            <a:ext cx="353219" cy="4365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b="1"/>
              <a:t>S</a:t>
            </a:r>
            <a:endParaRPr lang="en-GB"/>
          </a:p>
        </p:txBody>
      </p:sp>
      <p:sp>
        <p:nvSpPr>
          <p:cNvPr id="57" name="Text Placeholder 55">
            <a:extLst>
              <a:ext uri="{FF2B5EF4-FFF2-40B4-BE49-F238E27FC236}">
                <a16:creationId xmlns:a16="http://schemas.microsoft.com/office/drawing/2014/main" id="{34127577-279D-E802-F23D-75648AAC7BE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43451" y="3329103"/>
            <a:ext cx="353219" cy="4365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b="1"/>
              <a:t>W</a:t>
            </a:r>
            <a:endParaRPr lang="en-GB"/>
          </a:p>
        </p:txBody>
      </p:sp>
      <p:sp>
        <p:nvSpPr>
          <p:cNvPr id="58" name="Text Placeholder 55">
            <a:extLst>
              <a:ext uri="{FF2B5EF4-FFF2-40B4-BE49-F238E27FC236}">
                <a16:creationId xmlns:a16="http://schemas.microsoft.com/office/drawing/2014/main" id="{C0D81F3E-1039-51E3-B4BD-3739C8F87B4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590652" y="4007710"/>
            <a:ext cx="353219" cy="4365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b="1"/>
              <a:t>T</a:t>
            </a:r>
            <a:endParaRPr lang="en-GB"/>
          </a:p>
        </p:txBody>
      </p:sp>
      <p:sp>
        <p:nvSpPr>
          <p:cNvPr id="59" name="Text Placeholder 55">
            <a:extLst>
              <a:ext uri="{FF2B5EF4-FFF2-40B4-BE49-F238E27FC236}">
                <a16:creationId xmlns:a16="http://schemas.microsoft.com/office/drawing/2014/main" id="{2F4D3588-B823-52F8-F459-912B67FA05C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57786" y="4007709"/>
            <a:ext cx="353219" cy="4365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b="1"/>
              <a:t>O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405473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utcome slide_alt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5">
            <a:extLst>
              <a:ext uri="{FF2B5EF4-FFF2-40B4-BE49-F238E27FC236}">
                <a16:creationId xmlns:a16="http://schemas.microsoft.com/office/drawing/2014/main" id="{5F2421CB-9CB9-1A52-9406-A1B97527BF46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556806161"/>
              </p:ext>
            </p:extLst>
          </p:nvPr>
        </p:nvGraphicFramePr>
        <p:xfrm>
          <a:off x="395553" y="2006441"/>
          <a:ext cx="11400896" cy="39845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14018">
                  <a:extLst>
                    <a:ext uri="{9D8B030D-6E8A-4147-A177-3AD203B41FA5}">
                      <a16:colId xmlns:a16="http://schemas.microsoft.com/office/drawing/2014/main" val="347731173"/>
                    </a:ext>
                  </a:extLst>
                </a:gridCol>
                <a:gridCol w="5686878">
                  <a:extLst>
                    <a:ext uri="{9D8B030D-6E8A-4147-A177-3AD203B41FA5}">
                      <a16:colId xmlns:a16="http://schemas.microsoft.com/office/drawing/2014/main" val="1241344891"/>
                    </a:ext>
                  </a:extLst>
                </a:gridCol>
              </a:tblGrid>
              <a:tr h="327565">
                <a:tc>
                  <a:txBody>
                    <a:bodyPr/>
                    <a:lstStyle/>
                    <a:p>
                      <a:pPr algn="ctr"/>
                      <a:endParaRPr lang="en-US" sz="1300">
                        <a:solidFill>
                          <a:schemeClr val="bg1"/>
                        </a:solidFill>
                      </a:endParaRPr>
                    </a:p>
                  </a:txBody>
                  <a:tcPr marL="76200" marR="76200" marT="38100" marB="381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>
                        <a:solidFill>
                          <a:schemeClr val="bg1"/>
                        </a:solidFill>
                      </a:endParaRPr>
                    </a:p>
                  </a:txBody>
                  <a:tcPr marL="76200" marR="76200" marT="38100" marB="381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5215030"/>
                  </a:ext>
                </a:extLst>
              </a:tr>
              <a:tr h="3656990">
                <a:tc>
                  <a:txBody>
                    <a:bodyPr/>
                    <a:lstStyle/>
                    <a:p>
                      <a:pPr marL="171450" indent="-171450">
                        <a:lnSpc>
                          <a:spcPts val="1680"/>
                        </a:lnSpc>
                        <a:buFont typeface="Arial" panose="020B0604020202020204" pitchFamily="34" charset="0"/>
                        <a:buChar char="•"/>
                      </a:pPr>
                      <a:endParaRPr lang="en-IN" sz="1000" b="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28600" marR="304800" marT="152400" marB="15240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87" rtl="0" eaLnBrk="1" fontAlgn="auto" latinLnBrk="0" hangingPunct="1">
                        <a:lnSpc>
                          <a:spcPts val="168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2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b="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28600" marR="304800" marT="152400" marB="1524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8896275"/>
                  </a:ext>
                </a:extLst>
              </a:tr>
            </a:tbl>
          </a:graphicData>
        </a:graphic>
      </p:graphicFrame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8286578B-EA1C-CA39-9078-7F68F011795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95552" y="2012682"/>
            <a:ext cx="5700448" cy="31985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3"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404D464A-9537-F493-B08B-8446F204DD0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64676" y="2466231"/>
            <a:ext cx="5549222" cy="3574958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933676A-0F6B-4D69-83B7-41D306900A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6778" y="2466231"/>
            <a:ext cx="5549222" cy="3574958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endParaRPr lang="en-GB"/>
          </a:p>
        </p:txBody>
      </p:sp>
      <p:pic>
        <p:nvPicPr>
          <p:cNvPr id="4" name="Graphic 24">
            <a:extLst>
              <a:ext uri="{FF2B5EF4-FFF2-40B4-BE49-F238E27FC236}">
                <a16:creationId xmlns:a16="http://schemas.microsoft.com/office/drawing/2014/main" id="{84AB094B-0B30-D61A-D093-D25AFD52DF6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3007634" y="1461851"/>
            <a:ext cx="503802" cy="503802"/>
          </a:xfrm>
          <a:prstGeom prst="rect">
            <a:avLst/>
          </a:prstGeom>
        </p:spPr>
      </p:pic>
      <p:pic>
        <p:nvPicPr>
          <p:cNvPr id="5" name="Graphic 224">
            <a:extLst>
              <a:ext uri="{FF2B5EF4-FFF2-40B4-BE49-F238E27FC236}">
                <a16:creationId xmlns:a16="http://schemas.microsoft.com/office/drawing/2014/main" id="{153BC745-53CB-8584-6487-F994C866396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728532" y="1455226"/>
            <a:ext cx="503802" cy="503802"/>
          </a:xfrm>
          <a:prstGeom prst="rect">
            <a:avLst/>
          </a:prstGeom>
        </p:spPr>
      </p:pic>
      <p:sp>
        <p:nvSpPr>
          <p:cNvPr id="6" name="Title 10">
            <a:extLst>
              <a:ext uri="{FF2B5EF4-FFF2-40B4-BE49-F238E27FC236}">
                <a16:creationId xmlns:a16="http://schemas.microsoft.com/office/drawing/2014/main" id="{9F5DA908-DA16-353D-1D16-329242B0C9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53" y="399899"/>
            <a:ext cx="11400896" cy="864810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DD46148A-83E0-1ADF-329A-BB1F348E1D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30209" y="2012682"/>
            <a:ext cx="5700448" cy="31985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3"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06343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 Slide-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>
            <a:extLst>
              <a:ext uri="{FF2B5EF4-FFF2-40B4-BE49-F238E27FC236}">
                <a16:creationId xmlns:a16="http://schemas.microsoft.com/office/drawing/2014/main" id="{FE1ABC8E-BB98-C919-E6BC-AA7B39186957}"/>
              </a:ext>
            </a:extLst>
          </p:cNvPr>
          <p:cNvSpPr/>
          <p:nvPr userDrawn="1"/>
        </p:nvSpPr>
        <p:spPr>
          <a:xfrm>
            <a:off x="-1" y="-1"/>
            <a:ext cx="12192000" cy="6858000"/>
          </a:xfrm>
          <a:custGeom>
            <a:avLst/>
            <a:gdLst>
              <a:gd name="connsiteX0" fmla="*/ 245165 w 12192000"/>
              <a:gd name="connsiteY0" fmla="*/ 242472 h 6858000"/>
              <a:gd name="connsiteX1" fmla="*/ 245165 w 12192000"/>
              <a:gd name="connsiteY1" fmla="*/ 6615528 h 6858000"/>
              <a:gd name="connsiteX2" fmla="*/ 11470341 w 12192000"/>
              <a:gd name="connsiteY2" fmla="*/ 6615528 h 6858000"/>
              <a:gd name="connsiteX3" fmla="*/ 11470341 w 12192000"/>
              <a:gd name="connsiteY3" fmla="*/ 6212541 h 6858000"/>
              <a:gd name="connsiteX4" fmla="*/ 11936921 w 12192000"/>
              <a:gd name="connsiteY4" fmla="*/ 6212541 h 6858000"/>
              <a:gd name="connsiteX5" fmla="*/ 11936921 w 12192000"/>
              <a:gd name="connsiteY5" fmla="*/ 242472 h 6858000"/>
              <a:gd name="connsiteX6" fmla="*/ 0 w 12192000"/>
              <a:gd name="connsiteY6" fmla="*/ 0 h 6858000"/>
              <a:gd name="connsiteX7" fmla="*/ 12192000 w 12192000"/>
              <a:gd name="connsiteY7" fmla="*/ 0 h 6858000"/>
              <a:gd name="connsiteX8" fmla="*/ 12192000 w 12192000"/>
              <a:gd name="connsiteY8" fmla="*/ 6212541 h 6858000"/>
              <a:gd name="connsiteX9" fmla="*/ 12192000 w 12192000"/>
              <a:gd name="connsiteY9" fmla="*/ 6858000 h 6858000"/>
              <a:gd name="connsiteX10" fmla="*/ 11470341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245165" y="242472"/>
                </a:moveTo>
                <a:lnTo>
                  <a:pt x="245165" y="6615528"/>
                </a:lnTo>
                <a:lnTo>
                  <a:pt x="11470341" y="6615528"/>
                </a:lnTo>
                <a:lnTo>
                  <a:pt x="11470341" y="6212541"/>
                </a:lnTo>
                <a:lnTo>
                  <a:pt x="11936921" y="6212541"/>
                </a:lnTo>
                <a:lnTo>
                  <a:pt x="11936921" y="24247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212541"/>
                </a:lnTo>
                <a:lnTo>
                  <a:pt x="12192000" y="6858000"/>
                </a:lnTo>
                <a:lnTo>
                  <a:pt x="1147034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97317161-2CD7-7DFA-011F-A55C360C705F}"/>
              </a:ext>
            </a:extLst>
          </p:cNvPr>
          <p:cNvSpPr/>
          <p:nvPr userDrawn="1"/>
        </p:nvSpPr>
        <p:spPr>
          <a:xfrm>
            <a:off x="8917401" y="2940388"/>
            <a:ext cx="3019519" cy="3674852"/>
          </a:xfrm>
          <a:custGeom>
            <a:avLst/>
            <a:gdLst>
              <a:gd name="connsiteX0" fmla="*/ 676211 w 790892"/>
              <a:gd name="connsiteY0" fmla="*/ 962478 h 962541"/>
              <a:gd name="connsiteX1" fmla="*/ 24892 w 790892"/>
              <a:gd name="connsiteY1" fmla="*/ 962478 h 962541"/>
              <a:gd name="connsiteX2" fmla="*/ 444 w 790892"/>
              <a:gd name="connsiteY2" fmla="*/ 938030 h 962541"/>
              <a:gd name="connsiteX3" fmla="*/ 127 w 790892"/>
              <a:gd name="connsiteY3" fmla="*/ 366593 h 962541"/>
              <a:gd name="connsiteX4" fmla="*/ 0 w 790892"/>
              <a:gd name="connsiteY4" fmla="*/ 304744 h 962541"/>
              <a:gd name="connsiteX5" fmla="*/ 0 w 790892"/>
              <a:gd name="connsiteY5" fmla="*/ 262390 h 962541"/>
              <a:gd name="connsiteX6" fmla="*/ 11620 w 790892"/>
              <a:gd name="connsiteY6" fmla="*/ 242261 h 962541"/>
              <a:gd name="connsiteX7" fmla="*/ 388556 w 790892"/>
              <a:gd name="connsiteY7" fmla="*/ 2421 h 962541"/>
              <a:gd name="connsiteX8" fmla="*/ 405447 w 790892"/>
              <a:gd name="connsiteY8" fmla="*/ 2485 h 962541"/>
              <a:gd name="connsiteX9" fmla="*/ 779780 w 790892"/>
              <a:gd name="connsiteY9" fmla="*/ 242578 h 962541"/>
              <a:gd name="connsiteX10" fmla="*/ 790766 w 790892"/>
              <a:gd name="connsiteY10" fmla="*/ 261311 h 962541"/>
              <a:gd name="connsiteX11" fmla="*/ 790766 w 790892"/>
              <a:gd name="connsiteY11" fmla="*/ 295092 h 962541"/>
              <a:gd name="connsiteX12" fmla="*/ 790892 w 790892"/>
              <a:gd name="connsiteY12" fmla="*/ 364435 h 962541"/>
              <a:gd name="connsiteX13" fmla="*/ 790892 w 790892"/>
              <a:gd name="connsiteY13" fmla="*/ 938157 h 962541"/>
              <a:gd name="connsiteX14" fmla="*/ 766508 w 790892"/>
              <a:gd name="connsiteY14" fmla="*/ 962541 h 962541"/>
              <a:gd name="connsiteX15" fmla="*/ 676211 w 790892"/>
              <a:gd name="connsiteY15" fmla="*/ 962541 h 96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90892" h="962541">
                <a:moveTo>
                  <a:pt x="676211" y="962478"/>
                </a:moveTo>
                <a:lnTo>
                  <a:pt x="24892" y="962478"/>
                </a:lnTo>
                <a:cubicBezTo>
                  <a:pt x="11493" y="962478"/>
                  <a:pt x="444" y="951429"/>
                  <a:pt x="444" y="938030"/>
                </a:cubicBezTo>
                <a:cubicBezTo>
                  <a:pt x="127" y="673806"/>
                  <a:pt x="127" y="624277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8"/>
                  <a:pt x="4699" y="246642"/>
                  <a:pt x="11620" y="242261"/>
                </a:cubicBezTo>
                <a:cubicBezTo>
                  <a:pt x="64262" y="208732"/>
                  <a:pt x="288036" y="66048"/>
                  <a:pt x="388556" y="2421"/>
                </a:cubicBezTo>
                <a:cubicBezTo>
                  <a:pt x="393700" y="-818"/>
                  <a:pt x="400303" y="-818"/>
                  <a:pt x="405447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2"/>
                </a:lnTo>
                <a:cubicBezTo>
                  <a:pt x="790766" y="295092"/>
                  <a:pt x="790892" y="364435"/>
                  <a:pt x="790892" y="364435"/>
                </a:cubicBezTo>
                <a:lnTo>
                  <a:pt x="790892" y="938157"/>
                </a:lnTo>
                <a:cubicBezTo>
                  <a:pt x="790892" y="951619"/>
                  <a:pt x="779970" y="962541"/>
                  <a:pt x="766508" y="962541"/>
                </a:cubicBezTo>
                <a:lnTo>
                  <a:pt x="676211" y="962541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3BDA9D2C-B719-C1DA-683D-8957B74BDDC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897995" y="1581309"/>
            <a:ext cx="1984906" cy="50681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D92F513-228E-8AA3-D1FE-E5324CDA8C8A}"/>
              </a:ext>
            </a:extLst>
          </p:cNvPr>
          <p:cNvSpPr txBox="1"/>
          <p:nvPr userDrawn="1"/>
        </p:nvSpPr>
        <p:spPr>
          <a:xfrm>
            <a:off x="897993" y="2632637"/>
            <a:ext cx="5943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i="0">
                <a:solidFill>
                  <a:schemeClr val="tx1"/>
                </a:solidFill>
                <a:latin typeface="Helvetica" pitchFamily="2" charset="0"/>
                <a:ea typeface="Bagoss Condensed SemiBold" panose="020B0806060102020204" pitchFamily="34" charset="77"/>
                <a:cs typeface="Bagoss Condensed SemiBold" panose="020B0806060102020204" pitchFamily="34" charset="77"/>
              </a:rPr>
              <a:t>The voice of the home building industry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D24FD5E-847E-DDAA-BD93-F17ABB19451F}"/>
              </a:ext>
            </a:extLst>
          </p:cNvPr>
          <p:cNvSpPr txBox="1"/>
          <p:nvPr userDrawn="1"/>
        </p:nvSpPr>
        <p:spPr>
          <a:xfrm>
            <a:off x="897993" y="4422214"/>
            <a:ext cx="5943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0" i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ww.hbf.co.uk</a:t>
            </a:r>
            <a:r>
              <a:rPr lang="en-GB" sz="2000" b="0" i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| 0207 960 1600 | @</a:t>
            </a:r>
            <a:r>
              <a:rPr lang="en-GB" sz="2000" b="0" i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omebuildersfed</a:t>
            </a:r>
            <a:endParaRPr lang="en-GB" sz="2000" b="0" i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751713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header_alt layou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66DE7D7-60D7-9A4A-2230-FB8B6AE73D5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5734844" cy="6858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9E85B8B-BC5C-8BEE-9BF7-E262F191BB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9D8F881F-AE72-8F8D-CE73-951034636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4221" y="3531360"/>
            <a:ext cx="5794291" cy="1530653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4D1B943-203D-684B-3611-91CE39F2C6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02581" y="5624946"/>
            <a:ext cx="3672289" cy="739822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67" b="0">
                <a:solidFill>
                  <a:schemeClr val="tx1"/>
                </a:solidFill>
              </a:defRPr>
            </a:lvl1pPr>
            <a:lvl2pPr marL="45716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2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4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0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0451B5D8-AA93-DC9D-4D98-A3AE730F8E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84221" y="1365794"/>
            <a:ext cx="2801345" cy="1602634"/>
          </a:xfrm>
          <a:prstGeom prst="rect">
            <a:avLst/>
          </a:prstGeom>
        </p:spPr>
        <p:txBody>
          <a:bodyPr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666" b="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833" b="0"/>
            </a:lvl2pPr>
            <a:lvl3pPr>
              <a:buNone/>
              <a:defRPr/>
            </a:lvl3pPr>
          </a:lstStyle>
          <a:p>
            <a:pPr lvl="0"/>
            <a:r>
              <a:rPr lang="en-GB"/>
              <a:t>0</a:t>
            </a:r>
            <a:r>
              <a:rPr lang="en-US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10084275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85">
          <p15:clr>
            <a:srgbClr val="FBAE40"/>
          </p15:clr>
        </p15:guide>
        <p15:guide id="2" pos="590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come slide_5 it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987F69D6-7901-6C5F-BF4B-0CE4F013DD3D}"/>
              </a:ext>
            </a:extLst>
          </p:cNvPr>
          <p:cNvSpPr/>
          <p:nvPr userDrawn="1"/>
        </p:nvSpPr>
        <p:spPr>
          <a:xfrm>
            <a:off x="9701733" y="2149815"/>
            <a:ext cx="2094716" cy="379678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bg2">
                  <a:lumMod val="95000"/>
                </a:schemeClr>
              </a:solidFill>
            </a:endParaRP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41A407CE-267C-5B7B-0E93-7C8609C103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05459" y="3604948"/>
            <a:ext cx="1887803" cy="144330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endParaRPr lang="en-GB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0B14EC5-CB36-C9B2-4A83-ACB3DB55438C}"/>
              </a:ext>
            </a:extLst>
          </p:cNvPr>
          <p:cNvSpPr/>
          <p:nvPr userDrawn="1"/>
        </p:nvSpPr>
        <p:spPr>
          <a:xfrm>
            <a:off x="7367268" y="2149815"/>
            <a:ext cx="2094716" cy="379678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bg2">
                  <a:lumMod val="95000"/>
                </a:schemeClr>
              </a:solidFill>
            </a:endParaRP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CF3A48DF-8441-5852-C099-B5F1BDC595C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70511" y="3604948"/>
            <a:ext cx="1887802" cy="144330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endParaRPr lang="en-GB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4560E64-A39E-3693-9B3F-5772BBB7E979}"/>
              </a:ext>
            </a:extLst>
          </p:cNvPr>
          <p:cNvSpPr/>
          <p:nvPr userDrawn="1"/>
        </p:nvSpPr>
        <p:spPr>
          <a:xfrm>
            <a:off x="5048643" y="2149815"/>
            <a:ext cx="2094716" cy="379678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bg2">
                  <a:lumMod val="95000"/>
                </a:schemeClr>
              </a:solidFill>
            </a:endParaRP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A3D7AA41-FB90-C490-1B90-89ECE4AB9B1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48792" y="3604948"/>
            <a:ext cx="1885157" cy="144330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DE3A0F2-2269-E0F1-C789-9D005C16CCB2}"/>
              </a:ext>
            </a:extLst>
          </p:cNvPr>
          <p:cNvSpPr/>
          <p:nvPr userDrawn="1"/>
        </p:nvSpPr>
        <p:spPr>
          <a:xfrm>
            <a:off x="2730017" y="2149815"/>
            <a:ext cx="2094716" cy="379678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bg2">
                  <a:lumMod val="95000"/>
                </a:schemeClr>
              </a:solidFill>
            </a:endParaRP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901C6921-BE6F-1C63-06A4-0104C048FDB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33688" y="3604948"/>
            <a:ext cx="1887803" cy="144330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761970" rtl="0" eaLnBrk="1" fontAlgn="auto" latinLnBrk="0" hangingPunct="1">
              <a:lnSpc>
                <a:spcPct val="90000"/>
              </a:lnSpc>
              <a:spcBef>
                <a:spcPts val="8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D01D4E5-F0DD-B1F8-82B2-76CA703A11AF}"/>
              </a:ext>
            </a:extLst>
          </p:cNvPr>
          <p:cNvSpPr/>
          <p:nvPr userDrawn="1"/>
        </p:nvSpPr>
        <p:spPr>
          <a:xfrm>
            <a:off x="395553" y="2149815"/>
            <a:ext cx="2094716" cy="379678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bg2">
                  <a:lumMod val="95000"/>
                </a:schemeClr>
              </a:solidFill>
            </a:endParaRP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4FD4B278-5B61-7DE6-00D3-CF96EEF943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8740" y="3604948"/>
            <a:ext cx="1874573" cy="144330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endParaRPr lang="en-GB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041684B-1FD8-362D-D42D-7773B453C6CF}"/>
              </a:ext>
            </a:extLst>
          </p:cNvPr>
          <p:cNvSpPr/>
          <p:nvPr userDrawn="1"/>
        </p:nvSpPr>
        <p:spPr>
          <a:xfrm>
            <a:off x="395553" y="2149814"/>
            <a:ext cx="2094716" cy="7862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000" b="1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7375F02-6B1E-4E5B-C2A0-24AD56878976}"/>
              </a:ext>
            </a:extLst>
          </p:cNvPr>
          <p:cNvSpPr/>
          <p:nvPr userDrawn="1"/>
        </p:nvSpPr>
        <p:spPr>
          <a:xfrm>
            <a:off x="5048643" y="2149814"/>
            <a:ext cx="2094716" cy="78625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000" b="1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D2F4713-F86C-E3C0-5338-B37080BE3201}"/>
              </a:ext>
            </a:extLst>
          </p:cNvPr>
          <p:cNvSpPr/>
          <p:nvPr userDrawn="1"/>
        </p:nvSpPr>
        <p:spPr>
          <a:xfrm>
            <a:off x="2730017" y="2149814"/>
            <a:ext cx="2094716" cy="78625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000" b="1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86C223F-AF46-93B5-B92E-C0EE56855632}"/>
              </a:ext>
            </a:extLst>
          </p:cNvPr>
          <p:cNvSpPr/>
          <p:nvPr userDrawn="1"/>
        </p:nvSpPr>
        <p:spPr>
          <a:xfrm>
            <a:off x="9701733" y="2149814"/>
            <a:ext cx="2094716" cy="78625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000" b="1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E0D0BB7-05F8-B92F-D3AA-B94314F0BADE}"/>
              </a:ext>
            </a:extLst>
          </p:cNvPr>
          <p:cNvSpPr/>
          <p:nvPr userDrawn="1"/>
        </p:nvSpPr>
        <p:spPr>
          <a:xfrm>
            <a:off x="7367268" y="2149814"/>
            <a:ext cx="2094716" cy="78625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000" b="1">
              <a:solidFill>
                <a:schemeClr val="bg1"/>
              </a:solidFill>
            </a:endParaRPr>
          </a:p>
        </p:txBody>
      </p:sp>
      <p:pic>
        <p:nvPicPr>
          <p:cNvPr id="17" name="Graphic 86">
            <a:extLst>
              <a:ext uri="{FF2B5EF4-FFF2-40B4-BE49-F238E27FC236}">
                <a16:creationId xmlns:a16="http://schemas.microsoft.com/office/drawing/2014/main" id="{5435B8AD-3C9D-6093-1D40-7C559DECA809}"/>
              </a:ext>
            </a:extLst>
          </p:cNvPr>
          <p:cNvPicPr>
            <a:picLocks noChangeAspect="1"/>
          </p:cNvPicPr>
          <p:nvPr userDrawn="1"/>
        </p:nvPicPr>
        <p:blipFill>
          <a:blip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395553" y="1480366"/>
            <a:ext cx="577499" cy="609600"/>
          </a:xfrm>
          <a:prstGeom prst="rect">
            <a:avLst/>
          </a:prstGeom>
        </p:spPr>
      </p:pic>
      <p:pic>
        <p:nvPicPr>
          <p:cNvPr id="18" name="Graphic 94">
            <a:extLst>
              <a:ext uri="{FF2B5EF4-FFF2-40B4-BE49-F238E27FC236}">
                <a16:creationId xmlns:a16="http://schemas.microsoft.com/office/drawing/2014/main" id="{8FD0F969-D80E-A6FD-B19C-0C1877DE265C}"/>
              </a:ext>
            </a:extLst>
          </p:cNvPr>
          <p:cNvPicPr>
            <a:picLocks noChangeAspect="1"/>
          </p:cNvPicPr>
          <p:nvPr userDrawn="1"/>
        </p:nvPicPr>
        <p:blipFill>
          <a:blip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30017" y="1480366"/>
            <a:ext cx="577499" cy="609600"/>
          </a:xfrm>
          <a:prstGeom prst="rect">
            <a:avLst/>
          </a:prstGeom>
        </p:spPr>
      </p:pic>
      <p:pic>
        <p:nvPicPr>
          <p:cNvPr id="19" name="Graphic 98">
            <a:extLst>
              <a:ext uri="{FF2B5EF4-FFF2-40B4-BE49-F238E27FC236}">
                <a16:creationId xmlns:a16="http://schemas.microsoft.com/office/drawing/2014/main" id="{9FCF8EDD-FD68-A883-F6FE-6F390E31062C}"/>
              </a:ext>
            </a:extLst>
          </p:cNvPr>
          <p:cNvPicPr>
            <a:picLocks noChangeAspect="1"/>
          </p:cNvPicPr>
          <p:nvPr userDrawn="1"/>
        </p:nvPicPr>
        <p:blipFill>
          <a:blip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048643" y="1480366"/>
            <a:ext cx="577499" cy="609600"/>
          </a:xfrm>
          <a:prstGeom prst="rect">
            <a:avLst/>
          </a:prstGeom>
        </p:spPr>
      </p:pic>
      <p:pic>
        <p:nvPicPr>
          <p:cNvPr id="20" name="Graphic 102">
            <a:extLst>
              <a:ext uri="{FF2B5EF4-FFF2-40B4-BE49-F238E27FC236}">
                <a16:creationId xmlns:a16="http://schemas.microsoft.com/office/drawing/2014/main" id="{44A51540-D4E1-1B22-AC4C-418ABB639A75}"/>
              </a:ext>
            </a:extLst>
          </p:cNvPr>
          <p:cNvPicPr>
            <a:picLocks noChangeAspect="1"/>
          </p:cNvPicPr>
          <p:nvPr userDrawn="1"/>
        </p:nvPicPr>
        <p:blipFill>
          <a:blip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367268" y="1480366"/>
            <a:ext cx="577499" cy="609600"/>
          </a:xfrm>
          <a:prstGeom prst="rect">
            <a:avLst/>
          </a:prstGeom>
        </p:spPr>
      </p:pic>
      <p:pic>
        <p:nvPicPr>
          <p:cNvPr id="21" name="Graphic 106">
            <a:extLst>
              <a:ext uri="{FF2B5EF4-FFF2-40B4-BE49-F238E27FC236}">
                <a16:creationId xmlns:a16="http://schemas.microsoft.com/office/drawing/2014/main" id="{BD69F3D1-35F7-DF9D-4B9E-6B9991676F8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701733" y="1480366"/>
            <a:ext cx="577499" cy="609600"/>
          </a:xfrm>
          <a:prstGeom prst="rect">
            <a:avLst/>
          </a:prstGeom>
        </p:spPr>
      </p:pic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533DFA28-8217-AAD6-7487-4B70589CBBA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5552" y="2149740"/>
            <a:ext cx="2094177" cy="78581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33"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46" name="Text Placeholder 44">
            <a:extLst>
              <a:ext uri="{FF2B5EF4-FFF2-40B4-BE49-F238E27FC236}">
                <a16:creationId xmlns:a16="http://schemas.microsoft.com/office/drawing/2014/main" id="{85E84505-0B02-1FE5-266F-2BDFE4AD57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729477" y="2149739"/>
            <a:ext cx="2094177" cy="78581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33" b="1" i="0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47" name="Text Placeholder 44">
            <a:extLst>
              <a:ext uri="{FF2B5EF4-FFF2-40B4-BE49-F238E27FC236}">
                <a16:creationId xmlns:a16="http://schemas.microsoft.com/office/drawing/2014/main" id="{1254C349-8082-DECD-D0A4-C4269D6911F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4282" y="2149739"/>
            <a:ext cx="2094177" cy="78581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33"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48" name="Text Placeholder 44">
            <a:extLst>
              <a:ext uri="{FF2B5EF4-FFF2-40B4-BE49-F238E27FC236}">
                <a16:creationId xmlns:a16="http://schemas.microsoft.com/office/drawing/2014/main" id="{2BD27EC7-BC24-E90D-B5D9-D41795AFDDA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367807" y="2150347"/>
            <a:ext cx="2094177" cy="78581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33"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49" name="Text Placeholder 44">
            <a:extLst>
              <a:ext uri="{FF2B5EF4-FFF2-40B4-BE49-F238E27FC236}">
                <a16:creationId xmlns:a16="http://schemas.microsoft.com/office/drawing/2014/main" id="{0A2A23EB-6AB9-597D-7EFA-8DB223F2F8F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702271" y="2146234"/>
            <a:ext cx="2094177" cy="78581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33"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50" name="Title 5">
            <a:extLst>
              <a:ext uri="{FF2B5EF4-FFF2-40B4-BE49-F238E27FC236}">
                <a16:creationId xmlns:a16="http://schemas.microsoft.com/office/drawing/2014/main" id="{CAB0AF92-817C-9416-3B5F-9EE45CCCA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53" y="399899"/>
            <a:ext cx="11400896" cy="864810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7207719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come slide_5 item edi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987F69D6-7901-6C5F-BF4B-0CE4F013DD3D}"/>
              </a:ext>
            </a:extLst>
          </p:cNvPr>
          <p:cNvSpPr/>
          <p:nvPr userDrawn="1"/>
        </p:nvSpPr>
        <p:spPr>
          <a:xfrm>
            <a:off x="9701733" y="2149815"/>
            <a:ext cx="2094716" cy="379678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bg2">
                  <a:lumMod val="95000"/>
                </a:schemeClr>
              </a:solidFill>
            </a:endParaRP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41A407CE-267C-5B7B-0E93-7C8609C103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05459" y="3604948"/>
            <a:ext cx="1887803" cy="144330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endParaRPr lang="en-GB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0B14EC5-CB36-C9B2-4A83-ACB3DB55438C}"/>
              </a:ext>
            </a:extLst>
          </p:cNvPr>
          <p:cNvSpPr/>
          <p:nvPr userDrawn="1"/>
        </p:nvSpPr>
        <p:spPr>
          <a:xfrm>
            <a:off x="7367268" y="2149815"/>
            <a:ext cx="2094716" cy="379678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bg2">
                  <a:lumMod val="95000"/>
                </a:schemeClr>
              </a:solidFill>
            </a:endParaRP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CF3A48DF-8441-5852-C099-B5F1BDC595C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70511" y="3604948"/>
            <a:ext cx="1887802" cy="144330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endParaRPr lang="en-GB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4560E64-A39E-3693-9B3F-5772BBB7E979}"/>
              </a:ext>
            </a:extLst>
          </p:cNvPr>
          <p:cNvSpPr/>
          <p:nvPr userDrawn="1"/>
        </p:nvSpPr>
        <p:spPr>
          <a:xfrm>
            <a:off x="5048643" y="2149815"/>
            <a:ext cx="2094716" cy="379678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bg2">
                  <a:lumMod val="95000"/>
                </a:schemeClr>
              </a:solidFill>
            </a:endParaRP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A3D7AA41-FB90-C490-1B90-89ECE4AB9B1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48792" y="3604948"/>
            <a:ext cx="1885157" cy="144330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DE3A0F2-2269-E0F1-C789-9D005C16CCB2}"/>
              </a:ext>
            </a:extLst>
          </p:cNvPr>
          <p:cNvSpPr/>
          <p:nvPr userDrawn="1"/>
        </p:nvSpPr>
        <p:spPr>
          <a:xfrm>
            <a:off x="2730017" y="2149815"/>
            <a:ext cx="2094716" cy="379678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bg2">
                  <a:lumMod val="95000"/>
                </a:schemeClr>
              </a:solidFill>
            </a:endParaRP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901C6921-BE6F-1C63-06A4-0104C048FDB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33688" y="3604948"/>
            <a:ext cx="1887803" cy="144330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761970" rtl="0" eaLnBrk="1" fontAlgn="auto" latinLnBrk="0" hangingPunct="1">
              <a:lnSpc>
                <a:spcPct val="90000"/>
              </a:lnSpc>
              <a:spcBef>
                <a:spcPts val="8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D01D4E5-F0DD-B1F8-82B2-76CA703A11AF}"/>
              </a:ext>
            </a:extLst>
          </p:cNvPr>
          <p:cNvSpPr/>
          <p:nvPr userDrawn="1"/>
        </p:nvSpPr>
        <p:spPr>
          <a:xfrm>
            <a:off x="395553" y="2149815"/>
            <a:ext cx="2094716" cy="379678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bg2">
                  <a:lumMod val="95000"/>
                </a:schemeClr>
              </a:solidFill>
            </a:endParaRP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4FD4B278-5B61-7DE6-00D3-CF96EEF943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8740" y="3604948"/>
            <a:ext cx="1874573" cy="144330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endParaRPr lang="en-GB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041684B-1FD8-362D-D42D-7773B453C6CF}"/>
              </a:ext>
            </a:extLst>
          </p:cNvPr>
          <p:cNvSpPr/>
          <p:nvPr userDrawn="1"/>
        </p:nvSpPr>
        <p:spPr>
          <a:xfrm>
            <a:off x="395553" y="2149814"/>
            <a:ext cx="2094716" cy="7862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000" b="1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7375F02-6B1E-4E5B-C2A0-24AD56878976}"/>
              </a:ext>
            </a:extLst>
          </p:cNvPr>
          <p:cNvSpPr/>
          <p:nvPr userDrawn="1"/>
        </p:nvSpPr>
        <p:spPr>
          <a:xfrm>
            <a:off x="5048643" y="2149814"/>
            <a:ext cx="2094716" cy="78625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000" b="1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D2F4713-F86C-E3C0-5338-B37080BE3201}"/>
              </a:ext>
            </a:extLst>
          </p:cNvPr>
          <p:cNvSpPr/>
          <p:nvPr userDrawn="1"/>
        </p:nvSpPr>
        <p:spPr>
          <a:xfrm>
            <a:off x="2730017" y="2149814"/>
            <a:ext cx="2094716" cy="78625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000" b="1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86C223F-AF46-93B5-B92E-C0EE56855632}"/>
              </a:ext>
            </a:extLst>
          </p:cNvPr>
          <p:cNvSpPr/>
          <p:nvPr userDrawn="1"/>
        </p:nvSpPr>
        <p:spPr>
          <a:xfrm>
            <a:off x="9701733" y="2149814"/>
            <a:ext cx="2094716" cy="78625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000" b="1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E0D0BB7-05F8-B92F-D3AA-B94314F0BADE}"/>
              </a:ext>
            </a:extLst>
          </p:cNvPr>
          <p:cNvSpPr/>
          <p:nvPr userDrawn="1"/>
        </p:nvSpPr>
        <p:spPr>
          <a:xfrm>
            <a:off x="7367268" y="2149814"/>
            <a:ext cx="2094716" cy="78625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000" b="1">
              <a:solidFill>
                <a:schemeClr val="bg1"/>
              </a:solidFill>
            </a:endParaRPr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533DFA28-8217-AAD6-7487-4B70589CBBA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5552" y="2149740"/>
            <a:ext cx="2094177" cy="78581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33"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46" name="Text Placeholder 44">
            <a:extLst>
              <a:ext uri="{FF2B5EF4-FFF2-40B4-BE49-F238E27FC236}">
                <a16:creationId xmlns:a16="http://schemas.microsoft.com/office/drawing/2014/main" id="{85E84505-0B02-1FE5-266F-2BDFE4AD57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729477" y="2149739"/>
            <a:ext cx="2094177" cy="78581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33" b="1" i="0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47" name="Text Placeholder 44">
            <a:extLst>
              <a:ext uri="{FF2B5EF4-FFF2-40B4-BE49-F238E27FC236}">
                <a16:creationId xmlns:a16="http://schemas.microsoft.com/office/drawing/2014/main" id="{1254C349-8082-DECD-D0A4-C4269D6911F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4282" y="2149739"/>
            <a:ext cx="2094177" cy="78581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33"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48" name="Text Placeholder 44">
            <a:extLst>
              <a:ext uri="{FF2B5EF4-FFF2-40B4-BE49-F238E27FC236}">
                <a16:creationId xmlns:a16="http://schemas.microsoft.com/office/drawing/2014/main" id="{2BD27EC7-BC24-E90D-B5D9-D41795AFDDA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367807" y="2150347"/>
            <a:ext cx="2094177" cy="78581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33"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49" name="Text Placeholder 44">
            <a:extLst>
              <a:ext uri="{FF2B5EF4-FFF2-40B4-BE49-F238E27FC236}">
                <a16:creationId xmlns:a16="http://schemas.microsoft.com/office/drawing/2014/main" id="{0A2A23EB-6AB9-597D-7EFA-8DB223F2F8F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702271" y="2146234"/>
            <a:ext cx="2094177" cy="78581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33"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50" name="Title 5">
            <a:extLst>
              <a:ext uri="{FF2B5EF4-FFF2-40B4-BE49-F238E27FC236}">
                <a16:creationId xmlns:a16="http://schemas.microsoft.com/office/drawing/2014/main" id="{CAB0AF92-817C-9416-3B5F-9EE45CCCA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53" y="399899"/>
            <a:ext cx="11400896" cy="864810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60ABEEB1-2EE8-2CF1-D0EB-C88748A5ACC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2729478" y="1480345"/>
            <a:ext cx="609864" cy="6098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33"/>
            </a:lvl1pPr>
          </a:lstStyle>
          <a:p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4740BF8-2952-06AC-4F1C-5A75430D276D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95553" y="1480345"/>
            <a:ext cx="609864" cy="6098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33"/>
            </a:lvl1pPr>
          </a:lstStyle>
          <a:p>
            <a:endParaRPr lang="en-GB"/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52EDA7A3-B936-623F-0A88-474A1C78556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044282" y="1480345"/>
            <a:ext cx="609864" cy="6098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33"/>
            </a:lvl1pPr>
          </a:lstStyle>
          <a:p>
            <a:endParaRPr lang="en-GB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1DBA2A82-0C97-62B6-A76D-9094D48E1439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373007" y="1480345"/>
            <a:ext cx="609864" cy="6098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33"/>
            </a:lvl1pPr>
          </a:lstStyle>
          <a:p>
            <a:endParaRPr lang="en-GB"/>
          </a:p>
        </p:txBody>
      </p:sp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D70BFD2D-57C6-F8E1-9BAB-0B0F62A320F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701733" y="1480345"/>
            <a:ext cx="609864" cy="6098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33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537450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come slide_3 it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A96ECCD-AB8E-FEB0-81C4-81F648124DFD}"/>
              </a:ext>
            </a:extLst>
          </p:cNvPr>
          <p:cNvSpPr/>
          <p:nvPr userDrawn="1"/>
        </p:nvSpPr>
        <p:spPr>
          <a:xfrm>
            <a:off x="8048389" y="2451464"/>
            <a:ext cx="2538643" cy="353618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bg2">
                  <a:lumMod val="95000"/>
                </a:schemeClr>
              </a:solidFill>
            </a:endParaRPr>
          </a:p>
        </p:txBody>
      </p:sp>
      <p:sp>
        <p:nvSpPr>
          <p:cNvPr id="11" name="Text Placeholder 28">
            <a:extLst>
              <a:ext uri="{FF2B5EF4-FFF2-40B4-BE49-F238E27FC236}">
                <a16:creationId xmlns:a16="http://schemas.microsoft.com/office/drawing/2014/main" id="{22CB3367-9D56-AA85-905D-94D5AD8EA29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175374" y="3699783"/>
            <a:ext cx="2284672" cy="13442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18B4777-2B44-9418-F54E-022835A50800}"/>
              </a:ext>
            </a:extLst>
          </p:cNvPr>
          <p:cNvSpPr/>
          <p:nvPr userDrawn="1"/>
        </p:nvSpPr>
        <p:spPr>
          <a:xfrm>
            <a:off x="4732606" y="2452018"/>
            <a:ext cx="2538643" cy="35738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bg2">
                  <a:lumMod val="95000"/>
                </a:schemeClr>
              </a:solidFill>
            </a:endParaRPr>
          </a:p>
        </p:txBody>
      </p:sp>
      <p:sp>
        <p:nvSpPr>
          <p:cNvPr id="13" name="Text Placeholder 26">
            <a:extLst>
              <a:ext uri="{FF2B5EF4-FFF2-40B4-BE49-F238E27FC236}">
                <a16:creationId xmlns:a16="http://schemas.microsoft.com/office/drawing/2014/main" id="{FC527F1D-3EC6-50D6-FAA4-C552EE4032E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857987" y="3699783"/>
            <a:ext cx="2287880" cy="13442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endParaRPr lang="en-GB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C877458-0F8F-0B67-455A-08A13F372904}"/>
              </a:ext>
            </a:extLst>
          </p:cNvPr>
          <p:cNvSpPr/>
          <p:nvPr userDrawn="1"/>
        </p:nvSpPr>
        <p:spPr>
          <a:xfrm>
            <a:off x="1420128" y="2472069"/>
            <a:ext cx="2535338" cy="355380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bg2">
                  <a:lumMod val="95000"/>
                </a:schemeClr>
              </a:solidFill>
            </a:endParaRPr>
          </a:p>
        </p:txBody>
      </p:sp>
      <p:sp>
        <p:nvSpPr>
          <p:cNvPr id="15" name="Text Placeholder 24">
            <a:extLst>
              <a:ext uri="{FF2B5EF4-FFF2-40B4-BE49-F238E27FC236}">
                <a16:creationId xmlns:a16="http://schemas.microsoft.com/office/drawing/2014/main" id="{32F20EEC-C4C4-90C2-DB01-21100CECB5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50223" y="3699783"/>
            <a:ext cx="2271845" cy="13442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endParaRPr lang="en-GB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A101FD7-F5AF-B394-B96D-A859164E0F99}"/>
              </a:ext>
            </a:extLst>
          </p:cNvPr>
          <p:cNvSpPr/>
          <p:nvPr userDrawn="1"/>
        </p:nvSpPr>
        <p:spPr>
          <a:xfrm>
            <a:off x="1416823" y="2186911"/>
            <a:ext cx="2538645" cy="73229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000" b="1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9860636-3C9F-91E0-9DD6-007F7E1157DF}"/>
              </a:ext>
            </a:extLst>
          </p:cNvPr>
          <p:cNvSpPr/>
          <p:nvPr userDrawn="1"/>
        </p:nvSpPr>
        <p:spPr>
          <a:xfrm>
            <a:off x="8048388" y="2186909"/>
            <a:ext cx="2538645" cy="73229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000" b="1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2B113A3-323C-2508-74D6-9D43DF235AA7}"/>
              </a:ext>
            </a:extLst>
          </p:cNvPr>
          <p:cNvSpPr/>
          <p:nvPr userDrawn="1"/>
        </p:nvSpPr>
        <p:spPr>
          <a:xfrm>
            <a:off x="4732605" y="2187464"/>
            <a:ext cx="2538645" cy="73229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000" b="1">
              <a:solidFill>
                <a:schemeClr val="bg1"/>
              </a:solidFill>
            </a:endParaRPr>
          </a:p>
        </p:txBody>
      </p:sp>
      <p:pic>
        <p:nvPicPr>
          <p:cNvPr id="19" name="Graphic 86">
            <a:extLst>
              <a:ext uri="{FF2B5EF4-FFF2-40B4-BE49-F238E27FC236}">
                <a16:creationId xmlns:a16="http://schemas.microsoft.com/office/drawing/2014/main" id="{4BEBF72B-95B4-168E-D02F-0F76D8CDF0CC}"/>
              </a:ext>
            </a:extLst>
          </p:cNvPr>
          <p:cNvPicPr>
            <a:picLocks noChangeAspect="1"/>
          </p:cNvPicPr>
          <p:nvPr userDrawn="1"/>
        </p:nvPicPr>
        <p:blipFill>
          <a:blip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416512" y="1397643"/>
            <a:ext cx="699888" cy="738792"/>
          </a:xfrm>
          <a:prstGeom prst="rect">
            <a:avLst/>
          </a:prstGeom>
        </p:spPr>
      </p:pic>
      <p:pic>
        <p:nvPicPr>
          <p:cNvPr id="20" name="Graphic 94">
            <a:extLst>
              <a:ext uri="{FF2B5EF4-FFF2-40B4-BE49-F238E27FC236}">
                <a16:creationId xmlns:a16="http://schemas.microsoft.com/office/drawing/2014/main" id="{48DC4A63-4D39-3C9F-CC7B-0D01F7238FCE}"/>
              </a:ext>
            </a:extLst>
          </p:cNvPr>
          <p:cNvPicPr>
            <a:picLocks noChangeAspect="1"/>
          </p:cNvPicPr>
          <p:nvPr userDrawn="1"/>
        </p:nvPicPr>
        <p:blipFill>
          <a:blip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32605" y="1397643"/>
            <a:ext cx="699888" cy="738792"/>
          </a:xfrm>
          <a:prstGeom prst="rect">
            <a:avLst/>
          </a:prstGeom>
        </p:spPr>
      </p:pic>
      <p:pic>
        <p:nvPicPr>
          <p:cNvPr id="21" name="Graphic 98">
            <a:extLst>
              <a:ext uri="{FF2B5EF4-FFF2-40B4-BE49-F238E27FC236}">
                <a16:creationId xmlns:a16="http://schemas.microsoft.com/office/drawing/2014/main" id="{B41630F0-153A-DD9D-0CCC-6D26B765CFE9}"/>
              </a:ext>
            </a:extLst>
          </p:cNvPr>
          <p:cNvPicPr>
            <a:picLocks noChangeAspect="1"/>
          </p:cNvPicPr>
          <p:nvPr userDrawn="1"/>
        </p:nvPicPr>
        <p:blipFill>
          <a:blip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048387" y="1452635"/>
            <a:ext cx="699888" cy="738792"/>
          </a:xfrm>
          <a:prstGeom prst="rect">
            <a:avLst/>
          </a:prstGeom>
        </p:spPr>
      </p:pic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F69CB017-93ED-A514-D2F1-BA073E9F26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16844" y="2186782"/>
            <a:ext cx="2534708" cy="73025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33"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6" name="Text Placeholder 24">
            <a:extLst>
              <a:ext uri="{FF2B5EF4-FFF2-40B4-BE49-F238E27FC236}">
                <a16:creationId xmlns:a16="http://schemas.microsoft.com/office/drawing/2014/main" id="{F762698E-E800-5FB2-937B-D98C99EA39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28690" y="2186782"/>
            <a:ext cx="2534708" cy="73025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33"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7" name="Text Placeholder 24">
            <a:extLst>
              <a:ext uri="{FF2B5EF4-FFF2-40B4-BE49-F238E27FC236}">
                <a16:creationId xmlns:a16="http://schemas.microsoft.com/office/drawing/2014/main" id="{04098CD1-251A-29A6-38A1-EC21EFDB950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52324" y="2182473"/>
            <a:ext cx="2534708" cy="73025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33"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8" name="Title 5">
            <a:extLst>
              <a:ext uri="{FF2B5EF4-FFF2-40B4-BE49-F238E27FC236}">
                <a16:creationId xmlns:a16="http://schemas.microsoft.com/office/drawing/2014/main" id="{14FDD0B3-567F-D2CB-3DBE-A632A59593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53" y="399899"/>
            <a:ext cx="11400896" cy="864810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3208967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come slide_3 item_edi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8282ACB-6A74-C1F0-8CAF-3532BB19014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16844" y="1397000"/>
            <a:ext cx="738188" cy="7395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33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A96ECCD-AB8E-FEB0-81C4-81F648124DFD}"/>
              </a:ext>
            </a:extLst>
          </p:cNvPr>
          <p:cNvSpPr/>
          <p:nvPr userDrawn="1"/>
        </p:nvSpPr>
        <p:spPr>
          <a:xfrm>
            <a:off x="8048389" y="2451464"/>
            <a:ext cx="2538643" cy="353618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bg2">
                  <a:lumMod val="95000"/>
                </a:schemeClr>
              </a:solidFill>
            </a:endParaRPr>
          </a:p>
        </p:txBody>
      </p:sp>
      <p:sp>
        <p:nvSpPr>
          <p:cNvPr id="11" name="Text Placeholder 28">
            <a:extLst>
              <a:ext uri="{FF2B5EF4-FFF2-40B4-BE49-F238E27FC236}">
                <a16:creationId xmlns:a16="http://schemas.microsoft.com/office/drawing/2014/main" id="{22CB3367-9D56-AA85-905D-94D5AD8EA29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175374" y="3699783"/>
            <a:ext cx="2284672" cy="13442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18B4777-2B44-9418-F54E-022835A50800}"/>
              </a:ext>
            </a:extLst>
          </p:cNvPr>
          <p:cNvSpPr/>
          <p:nvPr userDrawn="1"/>
        </p:nvSpPr>
        <p:spPr>
          <a:xfrm>
            <a:off x="4732606" y="2452018"/>
            <a:ext cx="2538643" cy="35738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bg2">
                  <a:lumMod val="95000"/>
                </a:schemeClr>
              </a:solidFill>
            </a:endParaRPr>
          </a:p>
        </p:txBody>
      </p:sp>
      <p:sp>
        <p:nvSpPr>
          <p:cNvPr id="13" name="Text Placeholder 26">
            <a:extLst>
              <a:ext uri="{FF2B5EF4-FFF2-40B4-BE49-F238E27FC236}">
                <a16:creationId xmlns:a16="http://schemas.microsoft.com/office/drawing/2014/main" id="{FC527F1D-3EC6-50D6-FAA4-C552EE4032E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857987" y="3699783"/>
            <a:ext cx="2287880" cy="13442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endParaRPr lang="en-GB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C877458-0F8F-0B67-455A-08A13F372904}"/>
              </a:ext>
            </a:extLst>
          </p:cNvPr>
          <p:cNvSpPr/>
          <p:nvPr userDrawn="1"/>
        </p:nvSpPr>
        <p:spPr>
          <a:xfrm>
            <a:off x="1420128" y="2472069"/>
            <a:ext cx="2535338" cy="355380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bg2">
                  <a:lumMod val="95000"/>
                </a:schemeClr>
              </a:solidFill>
            </a:endParaRPr>
          </a:p>
        </p:txBody>
      </p:sp>
      <p:sp>
        <p:nvSpPr>
          <p:cNvPr id="15" name="Text Placeholder 24">
            <a:extLst>
              <a:ext uri="{FF2B5EF4-FFF2-40B4-BE49-F238E27FC236}">
                <a16:creationId xmlns:a16="http://schemas.microsoft.com/office/drawing/2014/main" id="{32F20EEC-C4C4-90C2-DB01-21100CECB5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50223" y="3699783"/>
            <a:ext cx="2271845" cy="13442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endParaRPr lang="en-GB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A101FD7-F5AF-B394-B96D-A859164E0F99}"/>
              </a:ext>
            </a:extLst>
          </p:cNvPr>
          <p:cNvSpPr/>
          <p:nvPr userDrawn="1"/>
        </p:nvSpPr>
        <p:spPr>
          <a:xfrm>
            <a:off x="1416823" y="2186911"/>
            <a:ext cx="2538645" cy="73229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000" b="1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9860636-3C9F-91E0-9DD6-007F7E1157DF}"/>
              </a:ext>
            </a:extLst>
          </p:cNvPr>
          <p:cNvSpPr/>
          <p:nvPr userDrawn="1"/>
        </p:nvSpPr>
        <p:spPr>
          <a:xfrm>
            <a:off x="8048388" y="2186909"/>
            <a:ext cx="2538645" cy="73229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000" b="1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2B113A3-323C-2508-74D6-9D43DF235AA7}"/>
              </a:ext>
            </a:extLst>
          </p:cNvPr>
          <p:cNvSpPr/>
          <p:nvPr userDrawn="1"/>
        </p:nvSpPr>
        <p:spPr>
          <a:xfrm>
            <a:off x="4732605" y="2187464"/>
            <a:ext cx="2538645" cy="73229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000" b="1">
              <a:solidFill>
                <a:schemeClr val="bg1"/>
              </a:solidFill>
            </a:endParaRP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F69CB017-93ED-A514-D2F1-BA073E9F26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16844" y="2186782"/>
            <a:ext cx="2534708" cy="73025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33"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6" name="Text Placeholder 24">
            <a:extLst>
              <a:ext uri="{FF2B5EF4-FFF2-40B4-BE49-F238E27FC236}">
                <a16:creationId xmlns:a16="http://schemas.microsoft.com/office/drawing/2014/main" id="{F762698E-E800-5FB2-937B-D98C99EA39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28690" y="2186782"/>
            <a:ext cx="2534708" cy="73025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33"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7" name="Text Placeholder 24">
            <a:extLst>
              <a:ext uri="{FF2B5EF4-FFF2-40B4-BE49-F238E27FC236}">
                <a16:creationId xmlns:a16="http://schemas.microsoft.com/office/drawing/2014/main" id="{04098CD1-251A-29A6-38A1-EC21EFDB950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52324" y="2182473"/>
            <a:ext cx="2534708" cy="73025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33"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8" name="Title 5">
            <a:extLst>
              <a:ext uri="{FF2B5EF4-FFF2-40B4-BE49-F238E27FC236}">
                <a16:creationId xmlns:a16="http://schemas.microsoft.com/office/drawing/2014/main" id="{14FDD0B3-567F-D2CB-3DBE-A632A59593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53" y="399899"/>
            <a:ext cx="11400896" cy="864810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5D3E1DF2-20DF-26B0-CDA7-53F93ABC857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728690" y="1397000"/>
            <a:ext cx="738188" cy="7395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33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1C13E2AC-6307-1E93-F535-DAE30A5CD04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057078" y="1397000"/>
            <a:ext cx="738188" cy="7395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33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381537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come slide_alt layout_4 it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 Placeholder 62">
            <a:extLst>
              <a:ext uri="{FF2B5EF4-FFF2-40B4-BE49-F238E27FC236}">
                <a16:creationId xmlns:a16="http://schemas.microsoft.com/office/drawing/2014/main" id="{AB7A5318-3874-9211-9303-A68036C6C3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187297" y="2816490"/>
            <a:ext cx="2922658" cy="6125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/>
            </a:lvl1pPr>
          </a:lstStyle>
          <a:p>
            <a:pPr lvl="0"/>
            <a:endParaRPr lang="en-GB"/>
          </a:p>
        </p:txBody>
      </p:sp>
      <p:sp>
        <p:nvSpPr>
          <p:cNvPr id="63" name="Text Placeholder 62">
            <a:extLst>
              <a:ext uri="{FF2B5EF4-FFF2-40B4-BE49-F238E27FC236}">
                <a16:creationId xmlns:a16="http://schemas.microsoft.com/office/drawing/2014/main" id="{07984E74-E81B-850F-6F98-3E2EFD7983D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13737" y="2805824"/>
            <a:ext cx="2922658" cy="6125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/>
            </a:lvl1pPr>
          </a:lstStyle>
          <a:p>
            <a:pPr lvl="0"/>
            <a:endParaRPr lang="en-GB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F67DB546-F681-C0FB-9937-DB1EB0A433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03618" y="3531534"/>
            <a:ext cx="2872052" cy="2849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/>
            </a:lvl1pPr>
          </a:lstStyle>
          <a:p>
            <a:pPr lvl="0"/>
            <a:endParaRPr lang="en-GB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C22945E8-CD43-F74A-591A-E943995A747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58373" y="3541430"/>
            <a:ext cx="2555875" cy="2849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/>
            </a:lvl1pPr>
          </a:lstStyle>
          <a:p>
            <a:pPr lvl="0"/>
            <a:endParaRPr lang="en-GB"/>
          </a:p>
        </p:txBody>
      </p:sp>
      <p:sp>
        <p:nvSpPr>
          <p:cNvPr id="51" name="Text Placeholder 50">
            <a:extLst>
              <a:ext uri="{FF2B5EF4-FFF2-40B4-BE49-F238E27FC236}">
                <a16:creationId xmlns:a16="http://schemas.microsoft.com/office/drawing/2014/main" id="{A617C1B9-05D0-8B24-9AF3-BB8FEE6E1C8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25640" y="3541430"/>
            <a:ext cx="2555875" cy="2849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/>
            </a:lvl1pPr>
          </a:lstStyle>
          <a:p>
            <a:pPr lvl="0"/>
            <a:endParaRPr lang="en-GB"/>
          </a:p>
        </p:txBody>
      </p:sp>
      <p:sp>
        <p:nvSpPr>
          <p:cNvPr id="48" name="Text Placeholder 47">
            <a:extLst>
              <a:ext uri="{FF2B5EF4-FFF2-40B4-BE49-F238E27FC236}">
                <a16:creationId xmlns:a16="http://schemas.microsoft.com/office/drawing/2014/main" id="{12513FF7-4826-328B-DF42-0F53D70FAD5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2907" y="3541449"/>
            <a:ext cx="2555875" cy="2849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/>
            </a:lvl1pPr>
          </a:lstStyle>
          <a:p>
            <a:pPr lvl="0"/>
            <a:endParaRPr lang="en-GB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B89995A-D65B-F2AA-353B-15AB066FB5BB}"/>
              </a:ext>
            </a:extLst>
          </p:cNvPr>
          <p:cNvGrpSpPr/>
          <p:nvPr userDrawn="1"/>
        </p:nvGrpSpPr>
        <p:grpSpPr>
          <a:xfrm>
            <a:off x="395552" y="2532728"/>
            <a:ext cx="11400896" cy="150000"/>
            <a:chOff x="474662" y="2826997"/>
            <a:chExt cx="11001601" cy="18000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3D148339-3F11-C7E4-96F9-919E00258F2C}"/>
                </a:ext>
              </a:extLst>
            </p:cNvPr>
            <p:cNvSpPr/>
            <p:nvPr/>
          </p:nvSpPr>
          <p:spPr>
            <a:xfrm>
              <a:off x="474662" y="2826997"/>
              <a:ext cx="2772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5C596B5D-A1A6-2EF5-511B-E4E3F70A7FFF}"/>
                </a:ext>
              </a:extLst>
            </p:cNvPr>
            <p:cNvSpPr/>
            <p:nvPr/>
          </p:nvSpPr>
          <p:spPr>
            <a:xfrm>
              <a:off x="3217863" y="2826997"/>
              <a:ext cx="2772000" cy="18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6AC18E67-BFEE-DC2C-BD72-950792F1E350}"/>
                </a:ext>
              </a:extLst>
            </p:cNvPr>
            <p:cNvSpPr/>
            <p:nvPr/>
          </p:nvSpPr>
          <p:spPr>
            <a:xfrm>
              <a:off x="5961062" y="2826997"/>
              <a:ext cx="27720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AC5FB87-A0FD-8203-4D36-C9ACDC12F01D}"/>
                </a:ext>
              </a:extLst>
            </p:cNvPr>
            <p:cNvSpPr/>
            <p:nvPr/>
          </p:nvSpPr>
          <p:spPr>
            <a:xfrm>
              <a:off x="8704263" y="2826997"/>
              <a:ext cx="2772000" cy="18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0B10424-5DA7-B9F3-1524-6402E117795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25944" y="1856509"/>
            <a:ext cx="534838" cy="531188"/>
            <a:chOff x="11052176" y="6284913"/>
            <a:chExt cx="465138" cy="461963"/>
          </a:xfrm>
          <a:solidFill>
            <a:schemeClr val="accent1"/>
          </a:solidFill>
        </p:grpSpPr>
        <p:sp>
          <p:nvSpPr>
            <p:cNvPr id="16" name="Freeform 673">
              <a:extLst>
                <a:ext uri="{FF2B5EF4-FFF2-40B4-BE49-F238E27FC236}">
                  <a16:creationId xmlns:a16="http://schemas.microsoft.com/office/drawing/2014/main" id="{EE47340F-47C4-92CC-F8CC-258C7263C9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96626" y="6329363"/>
              <a:ext cx="376238" cy="241300"/>
            </a:xfrm>
            <a:custGeom>
              <a:avLst/>
              <a:gdLst>
                <a:gd name="T0" fmla="*/ 237 w 237"/>
                <a:gd name="T1" fmla="*/ 152 h 152"/>
                <a:gd name="T2" fmla="*/ 0 w 237"/>
                <a:gd name="T3" fmla="*/ 152 h 152"/>
                <a:gd name="T4" fmla="*/ 0 w 237"/>
                <a:gd name="T5" fmla="*/ 0 h 152"/>
                <a:gd name="T6" fmla="*/ 237 w 237"/>
                <a:gd name="T7" fmla="*/ 0 h 152"/>
                <a:gd name="T8" fmla="*/ 237 w 237"/>
                <a:gd name="T9" fmla="*/ 152 h 152"/>
                <a:gd name="T10" fmla="*/ 11 w 237"/>
                <a:gd name="T11" fmla="*/ 141 h 152"/>
                <a:gd name="T12" fmla="*/ 226 w 237"/>
                <a:gd name="T13" fmla="*/ 141 h 152"/>
                <a:gd name="T14" fmla="*/ 226 w 237"/>
                <a:gd name="T15" fmla="*/ 11 h 152"/>
                <a:gd name="T16" fmla="*/ 11 w 237"/>
                <a:gd name="T17" fmla="*/ 11 h 152"/>
                <a:gd name="T18" fmla="*/ 11 w 237"/>
                <a:gd name="T19" fmla="*/ 141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7" h="152">
                  <a:moveTo>
                    <a:pt x="237" y="152"/>
                  </a:moveTo>
                  <a:lnTo>
                    <a:pt x="0" y="152"/>
                  </a:lnTo>
                  <a:lnTo>
                    <a:pt x="0" y="0"/>
                  </a:lnTo>
                  <a:lnTo>
                    <a:pt x="237" y="0"/>
                  </a:lnTo>
                  <a:lnTo>
                    <a:pt x="237" y="152"/>
                  </a:lnTo>
                  <a:close/>
                  <a:moveTo>
                    <a:pt x="11" y="141"/>
                  </a:moveTo>
                  <a:lnTo>
                    <a:pt x="226" y="141"/>
                  </a:lnTo>
                  <a:lnTo>
                    <a:pt x="226" y="11"/>
                  </a:lnTo>
                  <a:lnTo>
                    <a:pt x="11" y="11"/>
                  </a:lnTo>
                  <a:lnTo>
                    <a:pt x="11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Freeform 674">
              <a:extLst>
                <a:ext uri="{FF2B5EF4-FFF2-40B4-BE49-F238E27FC236}">
                  <a16:creationId xmlns:a16="http://schemas.microsoft.com/office/drawing/2014/main" id="{1AE12607-4082-B330-4EED-600E20B920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98238" y="6599238"/>
              <a:ext cx="58738" cy="147638"/>
            </a:xfrm>
            <a:custGeom>
              <a:avLst/>
              <a:gdLst>
                <a:gd name="T0" fmla="*/ 30 w 37"/>
                <a:gd name="T1" fmla="*/ 93 h 93"/>
                <a:gd name="T2" fmla="*/ 0 w 37"/>
                <a:gd name="T3" fmla="*/ 62 h 93"/>
                <a:gd name="T4" fmla="*/ 0 w 37"/>
                <a:gd name="T5" fmla="*/ 0 h 93"/>
                <a:gd name="T6" fmla="*/ 11 w 37"/>
                <a:gd name="T7" fmla="*/ 0 h 93"/>
                <a:gd name="T8" fmla="*/ 11 w 37"/>
                <a:gd name="T9" fmla="*/ 58 h 93"/>
                <a:gd name="T10" fmla="*/ 37 w 37"/>
                <a:gd name="T11" fmla="*/ 86 h 93"/>
                <a:gd name="T12" fmla="*/ 30 w 37"/>
                <a:gd name="T13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93">
                  <a:moveTo>
                    <a:pt x="30" y="93"/>
                  </a:moveTo>
                  <a:lnTo>
                    <a:pt x="0" y="6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58"/>
                  </a:lnTo>
                  <a:lnTo>
                    <a:pt x="37" y="86"/>
                  </a:lnTo>
                  <a:lnTo>
                    <a:pt x="3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675">
              <a:extLst>
                <a:ext uri="{FF2B5EF4-FFF2-40B4-BE49-F238E27FC236}">
                  <a16:creationId xmlns:a16="http://schemas.microsoft.com/office/drawing/2014/main" id="{4D8A3F69-DB70-78FB-8DB3-B12EA2B383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0926" y="6599238"/>
              <a:ext cx="58738" cy="147638"/>
            </a:xfrm>
            <a:custGeom>
              <a:avLst/>
              <a:gdLst>
                <a:gd name="T0" fmla="*/ 8 w 37"/>
                <a:gd name="T1" fmla="*/ 93 h 93"/>
                <a:gd name="T2" fmla="*/ 0 w 37"/>
                <a:gd name="T3" fmla="*/ 86 h 93"/>
                <a:gd name="T4" fmla="*/ 27 w 37"/>
                <a:gd name="T5" fmla="*/ 58 h 93"/>
                <a:gd name="T6" fmla="*/ 27 w 37"/>
                <a:gd name="T7" fmla="*/ 0 h 93"/>
                <a:gd name="T8" fmla="*/ 37 w 37"/>
                <a:gd name="T9" fmla="*/ 0 h 93"/>
                <a:gd name="T10" fmla="*/ 37 w 37"/>
                <a:gd name="T11" fmla="*/ 62 h 93"/>
                <a:gd name="T12" fmla="*/ 8 w 37"/>
                <a:gd name="T13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93">
                  <a:moveTo>
                    <a:pt x="8" y="93"/>
                  </a:moveTo>
                  <a:lnTo>
                    <a:pt x="0" y="86"/>
                  </a:lnTo>
                  <a:lnTo>
                    <a:pt x="27" y="58"/>
                  </a:lnTo>
                  <a:lnTo>
                    <a:pt x="27" y="0"/>
                  </a:lnTo>
                  <a:lnTo>
                    <a:pt x="37" y="0"/>
                  </a:lnTo>
                  <a:lnTo>
                    <a:pt x="37" y="62"/>
                  </a:lnTo>
                  <a:lnTo>
                    <a:pt x="8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Freeform 676">
              <a:extLst>
                <a:ext uri="{FF2B5EF4-FFF2-40B4-BE49-F238E27FC236}">
                  <a16:creationId xmlns:a16="http://schemas.microsoft.com/office/drawing/2014/main" id="{3B8BE11F-5DBC-BEDD-6D04-DD17CE0F6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55363" y="6399213"/>
              <a:ext cx="258763" cy="92075"/>
            </a:xfrm>
            <a:custGeom>
              <a:avLst/>
              <a:gdLst>
                <a:gd name="T0" fmla="*/ 97 w 163"/>
                <a:gd name="T1" fmla="*/ 58 h 58"/>
                <a:gd name="T2" fmla="*/ 35 w 163"/>
                <a:gd name="T3" fmla="*/ 14 h 58"/>
                <a:gd name="T4" fmla="*/ 7 w 163"/>
                <a:gd name="T5" fmla="*/ 41 h 58"/>
                <a:gd name="T6" fmla="*/ 0 w 163"/>
                <a:gd name="T7" fmla="*/ 33 h 58"/>
                <a:gd name="T8" fmla="*/ 34 w 163"/>
                <a:gd name="T9" fmla="*/ 0 h 58"/>
                <a:gd name="T10" fmla="*/ 97 w 163"/>
                <a:gd name="T11" fmla="*/ 45 h 58"/>
                <a:gd name="T12" fmla="*/ 157 w 163"/>
                <a:gd name="T13" fmla="*/ 3 h 58"/>
                <a:gd name="T14" fmla="*/ 163 w 163"/>
                <a:gd name="T15" fmla="*/ 12 h 58"/>
                <a:gd name="T16" fmla="*/ 97 w 163"/>
                <a:gd name="T17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3" h="58">
                  <a:moveTo>
                    <a:pt x="97" y="58"/>
                  </a:moveTo>
                  <a:lnTo>
                    <a:pt x="35" y="14"/>
                  </a:lnTo>
                  <a:lnTo>
                    <a:pt x="7" y="41"/>
                  </a:lnTo>
                  <a:lnTo>
                    <a:pt x="0" y="33"/>
                  </a:lnTo>
                  <a:lnTo>
                    <a:pt x="34" y="0"/>
                  </a:lnTo>
                  <a:lnTo>
                    <a:pt x="97" y="45"/>
                  </a:lnTo>
                  <a:lnTo>
                    <a:pt x="157" y="3"/>
                  </a:lnTo>
                  <a:lnTo>
                    <a:pt x="163" y="12"/>
                  </a:lnTo>
                  <a:lnTo>
                    <a:pt x="97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Freeform 677">
              <a:extLst>
                <a:ext uri="{FF2B5EF4-FFF2-40B4-BE49-F238E27FC236}">
                  <a16:creationId xmlns:a16="http://schemas.microsoft.com/office/drawing/2014/main" id="{AB617072-6A32-6826-869D-8DA0042871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52176" y="6284913"/>
              <a:ext cx="465138" cy="330200"/>
            </a:xfrm>
            <a:custGeom>
              <a:avLst/>
              <a:gdLst>
                <a:gd name="T0" fmla="*/ 293 w 293"/>
                <a:gd name="T1" fmla="*/ 208 h 208"/>
                <a:gd name="T2" fmla="*/ 0 w 293"/>
                <a:gd name="T3" fmla="*/ 208 h 208"/>
                <a:gd name="T4" fmla="*/ 0 w 293"/>
                <a:gd name="T5" fmla="*/ 0 h 208"/>
                <a:gd name="T6" fmla="*/ 293 w 293"/>
                <a:gd name="T7" fmla="*/ 0 h 208"/>
                <a:gd name="T8" fmla="*/ 293 w 293"/>
                <a:gd name="T9" fmla="*/ 208 h 208"/>
                <a:gd name="T10" fmla="*/ 10 w 293"/>
                <a:gd name="T11" fmla="*/ 198 h 208"/>
                <a:gd name="T12" fmla="*/ 282 w 293"/>
                <a:gd name="T13" fmla="*/ 198 h 208"/>
                <a:gd name="T14" fmla="*/ 282 w 293"/>
                <a:gd name="T15" fmla="*/ 10 h 208"/>
                <a:gd name="T16" fmla="*/ 10 w 293"/>
                <a:gd name="T17" fmla="*/ 10 h 208"/>
                <a:gd name="T18" fmla="*/ 10 w 293"/>
                <a:gd name="T19" fmla="*/ 19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3" h="208">
                  <a:moveTo>
                    <a:pt x="293" y="208"/>
                  </a:moveTo>
                  <a:lnTo>
                    <a:pt x="0" y="208"/>
                  </a:lnTo>
                  <a:lnTo>
                    <a:pt x="0" y="0"/>
                  </a:lnTo>
                  <a:lnTo>
                    <a:pt x="293" y="0"/>
                  </a:lnTo>
                  <a:lnTo>
                    <a:pt x="293" y="208"/>
                  </a:lnTo>
                  <a:close/>
                  <a:moveTo>
                    <a:pt x="10" y="198"/>
                  </a:moveTo>
                  <a:lnTo>
                    <a:pt x="282" y="198"/>
                  </a:lnTo>
                  <a:lnTo>
                    <a:pt x="282" y="10"/>
                  </a:lnTo>
                  <a:lnTo>
                    <a:pt x="10" y="10"/>
                  </a:lnTo>
                  <a:lnTo>
                    <a:pt x="10" y="1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F122CCC-70F6-045F-33DD-6E2004617A6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917698" y="1839944"/>
            <a:ext cx="550611" cy="550611"/>
            <a:chOff x="10153651" y="23813"/>
            <a:chExt cx="465138" cy="465138"/>
          </a:xfrm>
          <a:solidFill>
            <a:schemeClr val="accent4"/>
          </a:solidFill>
        </p:grpSpPr>
        <p:sp>
          <p:nvSpPr>
            <p:cNvPr id="22" name="Line 1021">
              <a:extLst>
                <a:ext uri="{FF2B5EF4-FFF2-40B4-BE49-F238E27FC236}">
                  <a16:creationId xmlns:a16="http://schemas.microsoft.com/office/drawing/2014/main" id="{55EE067E-B12C-98A9-3CE9-5FB88DC0D7B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479088" y="349251"/>
              <a:ext cx="0" cy="0"/>
            </a:xfrm>
            <a:prstGeom prst="line">
              <a:avLst/>
            </a:prstGeom>
            <a:grp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Line 1022">
              <a:extLst>
                <a:ext uri="{FF2B5EF4-FFF2-40B4-BE49-F238E27FC236}">
                  <a16:creationId xmlns:a16="http://schemas.microsoft.com/office/drawing/2014/main" id="{73D6A53D-04BA-6105-53C3-0D3F327E62D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479088" y="349251"/>
              <a:ext cx="0" cy="0"/>
            </a:xfrm>
            <a:prstGeom prst="line">
              <a:avLst/>
            </a:prstGeom>
            <a:grp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Line 1023">
              <a:extLst>
                <a:ext uri="{FF2B5EF4-FFF2-40B4-BE49-F238E27FC236}">
                  <a16:creationId xmlns:a16="http://schemas.microsoft.com/office/drawing/2014/main" id="{6780BF9F-11B7-CF6F-F4B4-10ED70E7435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479088" y="349251"/>
              <a:ext cx="0" cy="0"/>
            </a:xfrm>
            <a:prstGeom prst="line">
              <a:avLst/>
            </a:prstGeom>
            <a:grp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Line 1024">
              <a:extLst>
                <a:ext uri="{FF2B5EF4-FFF2-40B4-BE49-F238E27FC236}">
                  <a16:creationId xmlns:a16="http://schemas.microsoft.com/office/drawing/2014/main" id="{E662C62F-D24E-2826-048C-8A4E3888FD2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479088" y="349251"/>
              <a:ext cx="0" cy="0"/>
            </a:xfrm>
            <a:prstGeom prst="line">
              <a:avLst/>
            </a:prstGeom>
            <a:grp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Freeform 1025">
              <a:extLst>
                <a:ext uri="{FF2B5EF4-FFF2-40B4-BE49-F238E27FC236}">
                  <a16:creationId xmlns:a16="http://schemas.microsoft.com/office/drawing/2014/main" id="{E6E67474-77D2-1706-1758-D8B4CAD36A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53651" y="23813"/>
              <a:ext cx="465138" cy="465138"/>
            </a:xfrm>
            <a:custGeom>
              <a:avLst/>
              <a:gdLst>
                <a:gd name="T0" fmla="*/ 399 w 798"/>
                <a:gd name="T1" fmla="*/ 798 h 798"/>
                <a:gd name="T2" fmla="*/ 0 w 798"/>
                <a:gd name="T3" fmla="*/ 399 h 798"/>
                <a:gd name="T4" fmla="*/ 399 w 798"/>
                <a:gd name="T5" fmla="*/ 0 h 798"/>
                <a:gd name="T6" fmla="*/ 798 w 798"/>
                <a:gd name="T7" fmla="*/ 399 h 798"/>
                <a:gd name="T8" fmla="*/ 399 w 798"/>
                <a:gd name="T9" fmla="*/ 798 h 798"/>
                <a:gd name="T10" fmla="*/ 399 w 798"/>
                <a:gd name="T11" fmla="*/ 29 h 798"/>
                <a:gd name="T12" fmla="*/ 29 w 798"/>
                <a:gd name="T13" fmla="*/ 399 h 798"/>
                <a:gd name="T14" fmla="*/ 399 w 798"/>
                <a:gd name="T15" fmla="*/ 769 h 798"/>
                <a:gd name="T16" fmla="*/ 770 w 798"/>
                <a:gd name="T17" fmla="*/ 399 h 798"/>
                <a:gd name="T18" fmla="*/ 399 w 798"/>
                <a:gd name="T19" fmla="*/ 29 h 7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98" h="798">
                  <a:moveTo>
                    <a:pt x="399" y="798"/>
                  </a:moveTo>
                  <a:cubicBezTo>
                    <a:pt x="179" y="798"/>
                    <a:pt x="0" y="619"/>
                    <a:pt x="0" y="399"/>
                  </a:cubicBezTo>
                  <a:cubicBezTo>
                    <a:pt x="0" y="179"/>
                    <a:pt x="179" y="0"/>
                    <a:pt x="399" y="0"/>
                  </a:cubicBezTo>
                  <a:cubicBezTo>
                    <a:pt x="619" y="0"/>
                    <a:pt x="798" y="179"/>
                    <a:pt x="798" y="399"/>
                  </a:cubicBezTo>
                  <a:cubicBezTo>
                    <a:pt x="798" y="619"/>
                    <a:pt x="619" y="798"/>
                    <a:pt x="399" y="798"/>
                  </a:cubicBezTo>
                  <a:close/>
                  <a:moveTo>
                    <a:pt x="399" y="29"/>
                  </a:moveTo>
                  <a:cubicBezTo>
                    <a:pt x="195" y="29"/>
                    <a:pt x="29" y="195"/>
                    <a:pt x="29" y="399"/>
                  </a:cubicBezTo>
                  <a:cubicBezTo>
                    <a:pt x="29" y="603"/>
                    <a:pt x="195" y="769"/>
                    <a:pt x="399" y="769"/>
                  </a:cubicBezTo>
                  <a:cubicBezTo>
                    <a:pt x="603" y="769"/>
                    <a:pt x="770" y="603"/>
                    <a:pt x="770" y="399"/>
                  </a:cubicBezTo>
                  <a:cubicBezTo>
                    <a:pt x="770" y="195"/>
                    <a:pt x="603" y="29"/>
                    <a:pt x="399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Freeform 1026">
              <a:extLst>
                <a:ext uri="{FF2B5EF4-FFF2-40B4-BE49-F238E27FC236}">
                  <a16:creationId xmlns:a16="http://schemas.microsoft.com/office/drawing/2014/main" id="{010FC08A-677B-C198-63F5-FE71A8B372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98101" y="68263"/>
              <a:ext cx="376238" cy="376238"/>
            </a:xfrm>
            <a:custGeom>
              <a:avLst/>
              <a:gdLst>
                <a:gd name="T0" fmla="*/ 322 w 644"/>
                <a:gd name="T1" fmla="*/ 644 h 644"/>
                <a:gd name="T2" fmla="*/ 94 w 644"/>
                <a:gd name="T3" fmla="*/ 550 h 644"/>
                <a:gd name="T4" fmla="*/ 0 w 644"/>
                <a:gd name="T5" fmla="*/ 322 h 644"/>
                <a:gd name="T6" fmla="*/ 94 w 644"/>
                <a:gd name="T7" fmla="*/ 94 h 644"/>
                <a:gd name="T8" fmla="*/ 322 w 644"/>
                <a:gd name="T9" fmla="*/ 0 h 644"/>
                <a:gd name="T10" fmla="*/ 550 w 644"/>
                <a:gd name="T11" fmla="*/ 94 h 644"/>
                <a:gd name="T12" fmla="*/ 644 w 644"/>
                <a:gd name="T13" fmla="*/ 322 h 644"/>
                <a:gd name="T14" fmla="*/ 550 w 644"/>
                <a:gd name="T15" fmla="*/ 550 h 644"/>
                <a:gd name="T16" fmla="*/ 322 w 644"/>
                <a:gd name="T17" fmla="*/ 644 h 644"/>
                <a:gd name="T18" fmla="*/ 322 w 644"/>
                <a:gd name="T19" fmla="*/ 29 h 644"/>
                <a:gd name="T20" fmla="*/ 115 w 644"/>
                <a:gd name="T21" fmla="*/ 115 h 644"/>
                <a:gd name="T22" fmla="*/ 29 w 644"/>
                <a:gd name="T23" fmla="*/ 322 h 644"/>
                <a:gd name="T24" fmla="*/ 115 w 644"/>
                <a:gd name="T25" fmla="*/ 530 h 644"/>
                <a:gd name="T26" fmla="*/ 322 w 644"/>
                <a:gd name="T27" fmla="*/ 615 h 644"/>
                <a:gd name="T28" fmla="*/ 530 w 644"/>
                <a:gd name="T29" fmla="*/ 530 h 644"/>
                <a:gd name="T30" fmla="*/ 616 w 644"/>
                <a:gd name="T31" fmla="*/ 322 h 644"/>
                <a:gd name="T32" fmla="*/ 530 w 644"/>
                <a:gd name="T33" fmla="*/ 115 h 644"/>
                <a:gd name="T34" fmla="*/ 322 w 644"/>
                <a:gd name="T35" fmla="*/ 29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44" h="644">
                  <a:moveTo>
                    <a:pt x="322" y="644"/>
                  </a:moveTo>
                  <a:cubicBezTo>
                    <a:pt x="236" y="644"/>
                    <a:pt x="155" y="611"/>
                    <a:pt x="94" y="550"/>
                  </a:cubicBezTo>
                  <a:cubicBezTo>
                    <a:pt x="33" y="489"/>
                    <a:pt x="0" y="408"/>
                    <a:pt x="0" y="322"/>
                  </a:cubicBezTo>
                  <a:cubicBezTo>
                    <a:pt x="0" y="236"/>
                    <a:pt x="33" y="155"/>
                    <a:pt x="94" y="94"/>
                  </a:cubicBezTo>
                  <a:cubicBezTo>
                    <a:pt x="155" y="33"/>
                    <a:pt x="236" y="0"/>
                    <a:pt x="322" y="0"/>
                  </a:cubicBezTo>
                  <a:cubicBezTo>
                    <a:pt x="408" y="0"/>
                    <a:pt x="489" y="33"/>
                    <a:pt x="550" y="94"/>
                  </a:cubicBezTo>
                  <a:cubicBezTo>
                    <a:pt x="611" y="155"/>
                    <a:pt x="644" y="236"/>
                    <a:pt x="644" y="322"/>
                  </a:cubicBezTo>
                  <a:cubicBezTo>
                    <a:pt x="644" y="408"/>
                    <a:pt x="611" y="489"/>
                    <a:pt x="550" y="550"/>
                  </a:cubicBezTo>
                  <a:cubicBezTo>
                    <a:pt x="489" y="611"/>
                    <a:pt x="408" y="644"/>
                    <a:pt x="322" y="644"/>
                  </a:cubicBezTo>
                  <a:close/>
                  <a:moveTo>
                    <a:pt x="322" y="29"/>
                  </a:moveTo>
                  <a:cubicBezTo>
                    <a:pt x="244" y="29"/>
                    <a:pt x="170" y="59"/>
                    <a:pt x="115" y="115"/>
                  </a:cubicBezTo>
                  <a:cubicBezTo>
                    <a:pt x="59" y="170"/>
                    <a:pt x="29" y="244"/>
                    <a:pt x="29" y="322"/>
                  </a:cubicBezTo>
                  <a:cubicBezTo>
                    <a:pt x="29" y="400"/>
                    <a:pt x="59" y="474"/>
                    <a:pt x="115" y="530"/>
                  </a:cubicBezTo>
                  <a:cubicBezTo>
                    <a:pt x="170" y="585"/>
                    <a:pt x="244" y="615"/>
                    <a:pt x="322" y="615"/>
                  </a:cubicBezTo>
                  <a:cubicBezTo>
                    <a:pt x="401" y="615"/>
                    <a:pt x="474" y="585"/>
                    <a:pt x="530" y="530"/>
                  </a:cubicBezTo>
                  <a:cubicBezTo>
                    <a:pt x="585" y="474"/>
                    <a:pt x="616" y="400"/>
                    <a:pt x="616" y="322"/>
                  </a:cubicBezTo>
                  <a:cubicBezTo>
                    <a:pt x="616" y="244"/>
                    <a:pt x="585" y="170"/>
                    <a:pt x="530" y="115"/>
                  </a:cubicBezTo>
                  <a:cubicBezTo>
                    <a:pt x="474" y="59"/>
                    <a:pt x="401" y="29"/>
                    <a:pt x="322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Freeform 1027">
              <a:extLst>
                <a:ext uri="{FF2B5EF4-FFF2-40B4-BE49-F238E27FC236}">
                  <a16:creationId xmlns:a16="http://schemas.microsoft.com/office/drawing/2014/main" id="{19CE152C-7013-CFFD-05A0-4F8963D2A2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83826" y="68263"/>
              <a:ext cx="204788" cy="376238"/>
            </a:xfrm>
            <a:custGeom>
              <a:avLst/>
              <a:gdLst>
                <a:gd name="T0" fmla="*/ 175 w 350"/>
                <a:gd name="T1" fmla="*/ 644 h 644"/>
                <a:gd name="T2" fmla="*/ 49 w 350"/>
                <a:gd name="T3" fmla="*/ 546 h 644"/>
                <a:gd name="T4" fmla="*/ 0 w 350"/>
                <a:gd name="T5" fmla="*/ 322 h 644"/>
                <a:gd name="T6" fmla="*/ 49 w 350"/>
                <a:gd name="T7" fmla="*/ 98 h 644"/>
                <a:gd name="T8" fmla="*/ 175 w 350"/>
                <a:gd name="T9" fmla="*/ 0 h 644"/>
                <a:gd name="T10" fmla="*/ 301 w 350"/>
                <a:gd name="T11" fmla="*/ 98 h 644"/>
                <a:gd name="T12" fmla="*/ 350 w 350"/>
                <a:gd name="T13" fmla="*/ 322 h 644"/>
                <a:gd name="T14" fmla="*/ 301 w 350"/>
                <a:gd name="T15" fmla="*/ 546 h 644"/>
                <a:gd name="T16" fmla="*/ 175 w 350"/>
                <a:gd name="T17" fmla="*/ 644 h 644"/>
                <a:gd name="T18" fmla="*/ 175 w 350"/>
                <a:gd name="T19" fmla="*/ 29 h 644"/>
                <a:gd name="T20" fmla="*/ 75 w 350"/>
                <a:gd name="T21" fmla="*/ 111 h 644"/>
                <a:gd name="T22" fmla="*/ 29 w 350"/>
                <a:gd name="T23" fmla="*/ 322 h 644"/>
                <a:gd name="T24" fmla="*/ 75 w 350"/>
                <a:gd name="T25" fmla="*/ 533 h 644"/>
                <a:gd name="T26" fmla="*/ 175 w 350"/>
                <a:gd name="T27" fmla="*/ 615 h 644"/>
                <a:gd name="T28" fmla="*/ 276 w 350"/>
                <a:gd name="T29" fmla="*/ 533 h 644"/>
                <a:gd name="T30" fmla="*/ 321 w 350"/>
                <a:gd name="T31" fmla="*/ 322 h 644"/>
                <a:gd name="T32" fmla="*/ 276 w 350"/>
                <a:gd name="T33" fmla="*/ 111 h 644"/>
                <a:gd name="T34" fmla="*/ 175 w 350"/>
                <a:gd name="T35" fmla="*/ 29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0" h="644">
                  <a:moveTo>
                    <a:pt x="175" y="644"/>
                  </a:moveTo>
                  <a:cubicBezTo>
                    <a:pt x="127" y="644"/>
                    <a:pt x="82" y="610"/>
                    <a:pt x="49" y="546"/>
                  </a:cubicBezTo>
                  <a:cubicBezTo>
                    <a:pt x="18" y="486"/>
                    <a:pt x="0" y="407"/>
                    <a:pt x="0" y="322"/>
                  </a:cubicBezTo>
                  <a:cubicBezTo>
                    <a:pt x="0" y="238"/>
                    <a:pt x="18" y="158"/>
                    <a:pt x="49" y="98"/>
                  </a:cubicBezTo>
                  <a:cubicBezTo>
                    <a:pt x="82" y="35"/>
                    <a:pt x="127" y="0"/>
                    <a:pt x="175" y="0"/>
                  </a:cubicBezTo>
                  <a:cubicBezTo>
                    <a:pt x="224" y="0"/>
                    <a:pt x="268" y="35"/>
                    <a:pt x="301" y="98"/>
                  </a:cubicBezTo>
                  <a:cubicBezTo>
                    <a:pt x="333" y="158"/>
                    <a:pt x="350" y="238"/>
                    <a:pt x="350" y="322"/>
                  </a:cubicBezTo>
                  <a:cubicBezTo>
                    <a:pt x="350" y="407"/>
                    <a:pt x="333" y="486"/>
                    <a:pt x="301" y="546"/>
                  </a:cubicBezTo>
                  <a:cubicBezTo>
                    <a:pt x="268" y="610"/>
                    <a:pt x="224" y="644"/>
                    <a:pt x="175" y="644"/>
                  </a:cubicBezTo>
                  <a:close/>
                  <a:moveTo>
                    <a:pt x="175" y="29"/>
                  </a:moveTo>
                  <a:cubicBezTo>
                    <a:pt x="138" y="29"/>
                    <a:pt x="102" y="58"/>
                    <a:pt x="75" y="111"/>
                  </a:cubicBezTo>
                  <a:cubicBezTo>
                    <a:pt x="45" y="167"/>
                    <a:pt x="29" y="242"/>
                    <a:pt x="29" y="322"/>
                  </a:cubicBezTo>
                  <a:cubicBezTo>
                    <a:pt x="29" y="402"/>
                    <a:pt x="45" y="477"/>
                    <a:pt x="75" y="533"/>
                  </a:cubicBezTo>
                  <a:cubicBezTo>
                    <a:pt x="102" y="586"/>
                    <a:pt x="138" y="615"/>
                    <a:pt x="175" y="615"/>
                  </a:cubicBezTo>
                  <a:cubicBezTo>
                    <a:pt x="212" y="615"/>
                    <a:pt x="248" y="586"/>
                    <a:pt x="276" y="533"/>
                  </a:cubicBezTo>
                  <a:cubicBezTo>
                    <a:pt x="305" y="477"/>
                    <a:pt x="321" y="402"/>
                    <a:pt x="321" y="322"/>
                  </a:cubicBezTo>
                  <a:cubicBezTo>
                    <a:pt x="321" y="242"/>
                    <a:pt x="305" y="167"/>
                    <a:pt x="276" y="111"/>
                  </a:cubicBezTo>
                  <a:cubicBezTo>
                    <a:pt x="248" y="58"/>
                    <a:pt x="212" y="29"/>
                    <a:pt x="175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Freeform 1028">
              <a:extLst>
                <a:ext uri="{FF2B5EF4-FFF2-40B4-BE49-F238E27FC236}">
                  <a16:creationId xmlns:a16="http://schemas.microsoft.com/office/drawing/2014/main" id="{927331BB-979B-302D-AF67-D9EE032A63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42551" y="307976"/>
              <a:ext cx="288925" cy="53975"/>
            </a:xfrm>
            <a:custGeom>
              <a:avLst/>
              <a:gdLst>
                <a:gd name="T0" fmla="*/ 17 w 496"/>
                <a:gd name="T1" fmla="*/ 93 h 93"/>
                <a:gd name="T2" fmla="*/ 0 w 496"/>
                <a:gd name="T3" fmla="*/ 70 h 93"/>
                <a:gd name="T4" fmla="*/ 249 w 496"/>
                <a:gd name="T5" fmla="*/ 0 h 93"/>
                <a:gd name="T6" fmla="*/ 496 w 496"/>
                <a:gd name="T7" fmla="*/ 69 h 93"/>
                <a:gd name="T8" fmla="*/ 479 w 496"/>
                <a:gd name="T9" fmla="*/ 93 h 93"/>
                <a:gd name="T10" fmla="*/ 249 w 496"/>
                <a:gd name="T11" fmla="*/ 29 h 93"/>
                <a:gd name="T12" fmla="*/ 17 w 496"/>
                <a:gd name="T13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6" h="93">
                  <a:moveTo>
                    <a:pt x="17" y="93"/>
                  </a:moveTo>
                  <a:cubicBezTo>
                    <a:pt x="0" y="70"/>
                    <a:pt x="0" y="70"/>
                    <a:pt x="0" y="70"/>
                  </a:cubicBezTo>
                  <a:cubicBezTo>
                    <a:pt x="59" y="26"/>
                    <a:pt x="152" y="0"/>
                    <a:pt x="249" y="0"/>
                  </a:cubicBezTo>
                  <a:cubicBezTo>
                    <a:pt x="342" y="0"/>
                    <a:pt x="437" y="26"/>
                    <a:pt x="496" y="69"/>
                  </a:cubicBezTo>
                  <a:cubicBezTo>
                    <a:pt x="479" y="93"/>
                    <a:pt x="479" y="93"/>
                    <a:pt x="479" y="93"/>
                  </a:cubicBezTo>
                  <a:cubicBezTo>
                    <a:pt x="425" y="53"/>
                    <a:pt x="336" y="29"/>
                    <a:pt x="249" y="29"/>
                  </a:cubicBezTo>
                  <a:cubicBezTo>
                    <a:pt x="159" y="29"/>
                    <a:pt x="70" y="53"/>
                    <a:pt x="17" y="9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Freeform 1029">
              <a:extLst>
                <a:ext uri="{FF2B5EF4-FFF2-40B4-BE49-F238E27FC236}">
                  <a16:creationId xmlns:a16="http://schemas.microsoft.com/office/drawing/2014/main" id="{E6FA9C27-085C-922D-E1D4-AAC5FC7B3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42551" y="149226"/>
              <a:ext cx="288925" cy="55563"/>
            </a:xfrm>
            <a:custGeom>
              <a:avLst/>
              <a:gdLst>
                <a:gd name="T0" fmla="*/ 248 w 496"/>
                <a:gd name="T1" fmla="*/ 94 h 94"/>
                <a:gd name="T2" fmla="*/ 108 w 496"/>
                <a:gd name="T3" fmla="*/ 75 h 94"/>
                <a:gd name="T4" fmla="*/ 0 w 496"/>
                <a:gd name="T5" fmla="*/ 24 h 94"/>
                <a:gd name="T6" fmla="*/ 18 w 496"/>
                <a:gd name="T7" fmla="*/ 1 h 94"/>
                <a:gd name="T8" fmla="*/ 248 w 496"/>
                <a:gd name="T9" fmla="*/ 65 h 94"/>
                <a:gd name="T10" fmla="*/ 479 w 496"/>
                <a:gd name="T11" fmla="*/ 0 h 94"/>
                <a:gd name="T12" fmla="*/ 496 w 496"/>
                <a:gd name="T13" fmla="*/ 24 h 94"/>
                <a:gd name="T14" fmla="*/ 248 w 496"/>
                <a:gd name="T15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6" h="94">
                  <a:moveTo>
                    <a:pt x="248" y="94"/>
                  </a:moveTo>
                  <a:cubicBezTo>
                    <a:pt x="198" y="94"/>
                    <a:pt x="151" y="87"/>
                    <a:pt x="108" y="75"/>
                  </a:cubicBezTo>
                  <a:cubicBezTo>
                    <a:pt x="66" y="63"/>
                    <a:pt x="29" y="46"/>
                    <a:pt x="0" y="24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71" y="41"/>
                    <a:pt x="157" y="65"/>
                    <a:pt x="248" y="65"/>
                  </a:cubicBezTo>
                  <a:cubicBezTo>
                    <a:pt x="336" y="65"/>
                    <a:pt x="425" y="40"/>
                    <a:pt x="479" y="0"/>
                  </a:cubicBezTo>
                  <a:cubicBezTo>
                    <a:pt x="496" y="24"/>
                    <a:pt x="496" y="24"/>
                    <a:pt x="496" y="24"/>
                  </a:cubicBezTo>
                  <a:cubicBezTo>
                    <a:pt x="436" y="68"/>
                    <a:pt x="344" y="94"/>
                    <a:pt x="24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Rectangle 1030">
              <a:extLst>
                <a:ext uri="{FF2B5EF4-FFF2-40B4-BE49-F238E27FC236}">
                  <a16:creationId xmlns:a16="http://schemas.microsoft.com/office/drawing/2014/main" id="{9EA2FF35-FE5D-BCAE-CA0C-E4A9F90BA3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77488" y="84138"/>
              <a:ext cx="17463" cy="3444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Rectangle 1031">
              <a:extLst>
                <a:ext uri="{FF2B5EF4-FFF2-40B4-BE49-F238E27FC236}">
                  <a16:creationId xmlns:a16="http://schemas.microsoft.com/office/drawing/2014/main" id="{C4D42997-69CD-E3CE-9562-339C5A78F4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15563" y="247651"/>
              <a:ext cx="342900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DE935898-66F5-1398-44F5-10DA873F78E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274303" y="1819762"/>
            <a:ext cx="403175" cy="567934"/>
            <a:chOff x="12015788" y="5387975"/>
            <a:chExt cx="330200" cy="465138"/>
          </a:xfrm>
          <a:solidFill>
            <a:schemeClr val="accent2"/>
          </a:solidFill>
        </p:grpSpPr>
        <p:sp>
          <p:nvSpPr>
            <p:cNvPr id="34" name="Freeform 597">
              <a:extLst>
                <a:ext uri="{FF2B5EF4-FFF2-40B4-BE49-F238E27FC236}">
                  <a16:creationId xmlns:a16="http://schemas.microsoft.com/office/drawing/2014/main" id="{7D637A1E-BABE-5408-5CED-02F3EF0344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061826" y="5432425"/>
              <a:ext cx="239713" cy="374650"/>
            </a:xfrm>
            <a:custGeom>
              <a:avLst/>
              <a:gdLst>
                <a:gd name="T0" fmla="*/ 151 w 151"/>
                <a:gd name="T1" fmla="*/ 236 h 236"/>
                <a:gd name="T2" fmla="*/ 0 w 151"/>
                <a:gd name="T3" fmla="*/ 236 h 236"/>
                <a:gd name="T4" fmla="*/ 0 w 151"/>
                <a:gd name="T5" fmla="*/ 0 h 236"/>
                <a:gd name="T6" fmla="*/ 151 w 151"/>
                <a:gd name="T7" fmla="*/ 0 h 236"/>
                <a:gd name="T8" fmla="*/ 151 w 151"/>
                <a:gd name="T9" fmla="*/ 236 h 236"/>
                <a:gd name="T10" fmla="*/ 10 w 151"/>
                <a:gd name="T11" fmla="*/ 226 h 236"/>
                <a:gd name="T12" fmla="*/ 141 w 151"/>
                <a:gd name="T13" fmla="*/ 226 h 236"/>
                <a:gd name="T14" fmla="*/ 141 w 151"/>
                <a:gd name="T15" fmla="*/ 11 h 236"/>
                <a:gd name="T16" fmla="*/ 10 w 151"/>
                <a:gd name="T17" fmla="*/ 11 h 236"/>
                <a:gd name="T18" fmla="*/ 10 w 151"/>
                <a:gd name="T19" fmla="*/ 226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1" h="236">
                  <a:moveTo>
                    <a:pt x="151" y="236"/>
                  </a:moveTo>
                  <a:lnTo>
                    <a:pt x="0" y="236"/>
                  </a:lnTo>
                  <a:lnTo>
                    <a:pt x="0" y="0"/>
                  </a:lnTo>
                  <a:lnTo>
                    <a:pt x="151" y="0"/>
                  </a:lnTo>
                  <a:lnTo>
                    <a:pt x="151" y="236"/>
                  </a:lnTo>
                  <a:close/>
                  <a:moveTo>
                    <a:pt x="10" y="226"/>
                  </a:moveTo>
                  <a:lnTo>
                    <a:pt x="141" y="226"/>
                  </a:lnTo>
                  <a:lnTo>
                    <a:pt x="141" y="11"/>
                  </a:lnTo>
                  <a:lnTo>
                    <a:pt x="10" y="11"/>
                  </a:lnTo>
                  <a:lnTo>
                    <a:pt x="10" y="2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Freeform 598">
              <a:extLst>
                <a:ext uri="{FF2B5EF4-FFF2-40B4-BE49-F238E27FC236}">
                  <a16:creationId xmlns:a16="http://schemas.microsoft.com/office/drawing/2014/main" id="{937935BD-4431-1E1B-4D66-BF3256846D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015788" y="5387975"/>
              <a:ext cx="330200" cy="465138"/>
            </a:xfrm>
            <a:custGeom>
              <a:avLst/>
              <a:gdLst>
                <a:gd name="T0" fmla="*/ 208 w 208"/>
                <a:gd name="T1" fmla="*/ 293 h 293"/>
                <a:gd name="T2" fmla="*/ 0 w 208"/>
                <a:gd name="T3" fmla="*/ 293 h 293"/>
                <a:gd name="T4" fmla="*/ 0 w 208"/>
                <a:gd name="T5" fmla="*/ 0 h 293"/>
                <a:gd name="T6" fmla="*/ 208 w 208"/>
                <a:gd name="T7" fmla="*/ 0 h 293"/>
                <a:gd name="T8" fmla="*/ 208 w 208"/>
                <a:gd name="T9" fmla="*/ 293 h 293"/>
                <a:gd name="T10" fmla="*/ 11 w 208"/>
                <a:gd name="T11" fmla="*/ 282 h 293"/>
                <a:gd name="T12" fmla="*/ 198 w 208"/>
                <a:gd name="T13" fmla="*/ 282 h 293"/>
                <a:gd name="T14" fmla="*/ 198 w 208"/>
                <a:gd name="T15" fmla="*/ 10 h 293"/>
                <a:gd name="T16" fmla="*/ 11 w 208"/>
                <a:gd name="T17" fmla="*/ 10 h 293"/>
                <a:gd name="T18" fmla="*/ 11 w 208"/>
                <a:gd name="T19" fmla="*/ 282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8" h="293">
                  <a:moveTo>
                    <a:pt x="208" y="293"/>
                  </a:moveTo>
                  <a:lnTo>
                    <a:pt x="0" y="293"/>
                  </a:lnTo>
                  <a:lnTo>
                    <a:pt x="0" y="0"/>
                  </a:lnTo>
                  <a:lnTo>
                    <a:pt x="208" y="0"/>
                  </a:lnTo>
                  <a:lnTo>
                    <a:pt x="208" y="293"/>
                  </a:lnTo>
                  <a:close/>
                  <a:moveTo>
                    <a:pt x="11" y="282"/>
                  </a:moveTo>
                  <a:lnTo>
                    <a:pt x="198" y="282"/>
                  </a:lnTo>
                  <a:lnTo>
                    <a:pt x="198" y="10"/>
                  </a:lnTo>
                  <a:lnTo>
                    <a:pt x="11" y="10"/>
                  </a:lnTo>
                  <a:lnTo>
                    <a:pt x="11" y="2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Freeform 599">
              <a:extLst>
                <a:ext uri="{FF2B5EF4-FFF2-40B4-BE49-F238E27FC236}">
                  <a16:creationId xmlns:a16="http://schemas.microsoft.com/office/drawing/2014/main" id="{1F9BF0A2-B396-CF61-8844-ACCAF5922D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150726" y="5702300"/>
              <a:ext cx="61913" cy="60325"/>
            </a:xfrm>
            <a:custGeom>
              <a:avLst/>
              <a:gdLst>
                <a:gd name="T0" fmla="*/ 52 w 105"/>
                <a:gd name="T1" fmla="*/ 106 h 106"/>
                <a:gd name="T2" fmla="*/ 0 w 105"/>
                <a:gd name="T3" fmla="*/ 53 h 106"/>
                <a:gd name="T4" fmla="*/ 52 w 105"/>
                <a:gd name="T5" fmla="*/ 0 h 106"/>
                <a:gd name="T6" fmla="*/ 105 w 105"/>
                <a:gd name="T7" fmla="*/ 53 h 106"/>
                <a:gd name="T8" fmla="*/ 52 w 105"/>
                <a:gd name="T9" fmla="*/ 106 h 106"/>
                <a:gd name="T10" fmla="*/ 52 w 105"/>
                <a:gd name="T11" fmla="*/ 29 h 106"/>
                <a:gd name="T12" fmla="*/ 28 w 105"/>
                <a:gd name="T13" fmla="*/ 53 h 106"/>
                <a:gd name="T14" fmla="*/ 52 w 105"/>
                <a:gd name="T15" fmla="*/ 77 h 106"/>
                <a:gd name="T16" fmla="*/ 77 w 105"/>
                <a:gd name="T17" fmla="*/ 53 h 106"/>
                <a:gd name="T18" fmla="*/ 52 w 105"/>
                <a:gd name="T19" fmla="*/ 29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5" h="106">
                  <a:moveTo>
                    <a:pt x="52" y="106"/>
                  </a:moveTo>
                  <a:cubicBezTo>
                    <a:pt x="23" y="106"/>
                    <a:pt x="0" y="82"/>
                    <a:pt x="0" y="53"/>
                  </a:cubicBezTo>
                  <a:cubicBezTo>
                    <a:pt x="0" y="24"/>
                    <a:pt x="23" y="0"/>
                    <a:pt x="52" y="0"/>
                  </a:cubicBezTo>
                  <a:cubicBezTo>
                    <a:pt x="82" y="0"/>
                    <a:pt x="105" y="24"/>
                    <a:pt x="105" y="53"/>
                  </a:cubicBezTo>
                  <a:cubicBezTo>
                    <a:pt x="105" y="82"/>
                    <a:pt x="82" y="106"/>
                    <a:pt x="52" y="106"/>
                  </a:cubicBezTo>
                  <a:close/>
                  <a:moveTo>
                    <a:pt x="52" y="29"/>
                  </a:moveTo>
                  <a:cubicBezTo>
                    <a:pt x="39" y="29"/>
                    <a:pt x="28" y="40"/>
                    <a:pt x="28" y="53"/>
                  </a:cubicBezTo>
                  <a:cubicBezTo>
                    <a:pt x="28" y="66"/>
                    <a:pt x="39" y="77"/>
                    <a:pt x="52" y="77"/>
                  </a:cubicBezTo>
                  <a:cubicBezTo>
                    <a:pt x="66" y="77"/>
                    <a:pt x="77" y="66"/>
                    <a:pt x="77" y="53"/>
                  </a:cubicBezTo>
                  <a:cubicBezTo>
                    <a:pt x="77" y="40"/>
                    <a:pt x="66" y="29"/>
                    <a:pt x="52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F4E93052-DD31-46D7-C690-3233E0DEE44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149891" y="1822816"/>
            <a:ext cx="443495" cy="550611"/>
            <a:chOff x="4818063" y="6284913"/>
            <a:chExt cx="374650" cy="465138"/>
          </a:xfrm>
          <a:solidFill>
            <a:schemeClr val="accent3"/>
          </a:solidFill>
        </p:grpSpPr>
        <p:sp>
          <p:nvSpPr>
            <p:cNvPr id="38" name="Freeform 624">
              <a:extLst>
                <a:ext uri="{FF2B5EF4-FFF2-40B4-BE49-F238E27FC236}">
                  <a16:creationId xmlns:a16="http://schemas.microsoft.com/office/drawing/2014/main" id="{E86F7B08-1A75-BDAC-F63D-36949FAA0D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62513" y="6329363"/>
              <a:ext cx="285750" cy="374650"/>
            </a:xfrm>
            <a:custGeom>
              <a:avLst/>
              <a:gdLst>
                <a:gd name="T0" fmla="*/ 465 w 490"/>
                <a:gd name="T1" fmla="*/ 644 h 644"/>
                <a:gd name="T2" fmla="*/ 26 w 490"/>
                <a:gd name="T3" fmla="*/ 644 h 644"/>
                <a:gd name="T4" fmla="*/ 0 w 490"/>
                <a:gd name="T5" fmla="*/ 619 h 644"/>
                <a:gd name="T6" fmla="*/ 0 w 490"/>
                <a:gd name="T7" fmla="*/ 26 h 644"/>
                <a:gd name="T8" fmla="*/ 26 w 490"/>
                <a:gd name="T9" fmla="*/ 0 h 644"/>
                <a:gd name="T10" fmla="*/ 465 w 490"/>
                <a:gd name="T11" fmla="*/ 0 h 644"/>
                <a:gd name="T12" fmla="*/ 490 w 490"/>
                <a:gd name="T13" fmla="*/ 26 h 644"/>
                <a:gd name="T14" fmla="*/ 490 w 490"/>
                <a:gd name="T15" fmla="*/ 619 h 644"/>
                <a:gd name="T16" fmla="*/ 465 w 490"/>
                <a:gd name="T17" fmla="*/ 644 h 644"/>
                <a:gd name="T18" fmla="*/ 29 w 490"/>
                <a:gd name="T19" fmla="*/ 616 h 644"/>
                <a:gd name="T20" fmla="*/ 462 w 490"/>
                <a:gd name="T21" fmla="*/ 616 h 644"/>
                <a:gd name="T22" fmla="*/ 462 w 490"/>
                <a:gd name="T23" fmla="*/ 29 h 644"/>
                <a:gd name="T24" fmla="*/ 29 w 490"/>
                <a:gd name="T25" fmla="*/ 29 h 644"/>
                <a:gd name="T26" fmla="*/ 29 w 490"/>
                <a:gd name="T27" fmla="*/ 616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90" h="644">
                  <a:moveTo>
                    <a:pt x="465" y="644"/>
                  </a:moveTo>
                  <a:cubicBezTo>
                    <a:pt x="26" y="644"/>
                    <a:pt x="26" y="644"/>
                    <a:pt x="26" y="644"/>
                  </a:cubicBezTo>
                  <a:cubicBezTo>
                    <a:pt x="11" y="644"/>
                    <a:pt x="0" y="633"/>
                    <a:pt x="0" y="619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2"/>
                    <a:pt x="11" y="0"/>
                    <a:pt x="26" y="0"/>
                  </a:cubicBezTo>
                  <a:cubicBezTo>
                    <a:pt x="465" y="0"/>
                    <a:pt x="465" y="0"/>
                    <a:pt x="465" y="0"/>
                  </a:cubicBezTo>
                  <a:cubicBezTo>
                    <a:pt x="479" y="0"/>
                    <a:pt x="490" y="12"/>
                    <a:pt x="490" y="26"/>
                  </a:cubicBezTo>
                  <a:cubicBezTo>
                    <a:pt x="490" y="619"/>
                    <a:pt x="490" y="619"/>
                    <a:pt x="490" y="619"/>
                  </a:cubicBezTo>
                  <a:cubicBezTo>
                    <a:pt x="490" y="633"/>
                    <a:pt x="479" y="644"/>
                    <a:pt x="465" y="644"/>
                  </a:cubicBezTo>
                  <a:close/>
                  <a:moveTo>
                    <a:pt x="29" y="616"/>
                  </a:moveTo>
                  <a:cubicBezTo>
                    <a:pt x="462" y="616"/>
                    <a:pt x="462" y="616"/>
                    <a:pt x="462" y="616"/>
                  </a:cubicBezTo>
                  <a:cubicBezTo>
                    <a:pt x="462" y="29"/>
                    <a:pt x="462" y="29"/>
                    <a:pt x="462" y="29"/>
                  </a:cubicBezTo>
                  <a:cubicBezTo>
                    <a:pt x="29" y="29"/>
                    <a:pt x="29" y="29"/>
                    <a:pt x="29" y="29"/>
                  </a:cubicBezTo>
                  <a:lnTo>
                    <a:pt x="29" y="6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Freeform 625">
              <a:extLst>
                <a:ext uri="{FF2B5EF4-FFF2-40B4-BE49-F238E27FC236}">
                  <a16:creationId xmlns:a16="http://schemas.microsoft.com/office/drawing/2014/main" id="{84CFD78A-209B-216B-97EC-847BDCD008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62513" y="6329363"/>
              <a:ext cx="285750" cy="374650"/>
            </a:xfrm>
            <a:custGeom>
              <a:avLst/>
              <a:gdLst>
                <a:gd name="T0" fmla="*/ 465 w 490"/>
                <a:gd name="T1" fmla="*/ 644 h 644"/>
                <a:gd name="T2" fmla="*/ 26 w 490"/>
                <a:gd name="T3" fmla="*/ 644 h 644"/>
                <a:gd name="T4" fmla="*/ 0 w 490"/>
                <a:gd name="T5" fmla="*/ 619 h 644"/>
                <a:gd name="T6" fmla="*/ 0 w 490"/>
                <a:gd name="T7" fmla="*/ 26 h 644"/>
                <a:gd name="T8" fmla="*/ 26 w 490"/>
                <a:gd name="T9" fmla="*/ 0 h 644"/>
                <a:gd name="T10" fmla="*/ 465 w 490"/>
                <a:gd name="T11" fmla="*/ 0 h 644"/>
                <a:gd name="T12" fmla="*/ 490 w 490"/>
                <a:gd name="T13" fmla="*/ 26 h 644"/>
                <a:gd name="T14" fmla="*/ 490 w 490"/>
                <a:gd name="T15" fmla="*/ 619 h 644"/>
                <a:gd name="T16" fmla="*/ 465 w 490"/>
                <a:gd name="T17" fmla="*/ 644 h 644"/>
                <a:gd name="T18" fmla="*/ 29 w 490"/>
                <a:gd name="T19" fmla="*/ 616 h 644"/>
                <a:gd name="T20" fmla="*/ 462 w 490"/>
                <a:gd name="T21" fmla="*/ 616 h 644"/>
                <a:gd name="T22" fmla="*/ 462 w 490"/>
                <a:gd name="T23" fmla="*/ 29 h 644"/>
                <a:gd name="T24" fmla="*/ 29 w 490"/>
                <a:gd name="T25" fmla="*/ 29 h 644"/>
                <a:gd name="T26" fmla="*/ 29 w 490"/>
                <a:gd name="T27" fmla="*/ 616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90" h="644">
                  <a:moveTo>
                    <a:pt x="465" y="644"/>
                  </a:moveTo>
                  <a:cubicBezTo>
                    <a:pt x="26" y="644"/>
                    <a:pt x="26" y="644"/>
                    <a:pt x="26" y="644"/>
                  </a:cubicBezTo>
                  <a:cubicBezTo>
                    <a:pt x="11" y="644"/>
                    <a:pt x="0" y="633"/>
                    <a:pt x="0" y="619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2"/>
                    <a:pt x="11" y="0"/>
                    <a:pt x="26" y="0"/>
                  </a:cubicBezTo>
                  <a:cubicBezTo>
                    <a:pt x="465" y="0"/>
                    <a:pt x="465" y="0"/>
                    <a:pt x="465" y="0"/>
                  </a:cubicBezTo>
                  <a:cubicBezTo>
                    <a:pt x="479" y="0"/>
                    <a:pt x="490" y="12"/>
                    <a:pt x="490" y="26"/>
                  </a:cubicBezTo>
                  <a:cubicBezTo>
                    <a:pt x="490" y="619"/>
                    <a:pt x="490" y="619"/>
                    <a:pt x="490" y="619"/>
                  </a:cubicBezTo>
                  <a:cubicBezTo>
                    <a:pt x="490" y="633"/>
                    <a:pt x="479" y="644"/>
                    <a:pt x="465" y="644"/>
                  </a:cubicBezTo>
                  <a:close/>
                  <a:moveTo>
                    <a:pt x="29" y="616"/>
                  </a:moveTo>
                  <a:cubicBezTo>
                    <a:pt x="462" y="616"/>
                    <a:pt x="462" y="616"/>
                    <a:pt x="462" y="616"/>
                  </a:cubicBezTo>
                  <a:cubicBezTo>
                    <a:pt x="462" y="29"/>
                    <a:pt x="462" y="29"/>
                    <a:pt x="462" y="29"/>
                  </a:cubicBezTo>
                  <a:cubicBezTo>
                    <a:pt x="29" y="29"/>
                    <a:pt x="29" y="29"/>
                    <a:pt x="29" y="29"/>
                  </a:cubicBezTo>
                  <a:lnTo>
                    <a:pt x="29" y="6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Freeform 626">
              <a:extLst>
                <a:ext uri="{FF2B5EF4-FFF2-40B4-BE49-F238E27FC236}">
                  <a16:creationId xmlns:a16="http://schemas.microsoft.com/office/drawing/2014/main" id="{444AAFAA-C369-F6B1-8340-67B460601B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18063" y="6284913"/>
              <a:ext cx="374650" cy="465138"/>
            </a:xfrm>
            <a:custGeom>
              <a:avLst/>
              <a:gdLst>
                <a:gd name="T0" fmla="*/ 547 w 644"/>
                <a:gd name="T1" fmla="*/ 798 h 798"/>
                <a:gd name="T2" fmla="*/ 97 w 644"/>
                <a:gd name="T3" fmla="*/ 798 h 798"/>
                <a:gd name="T4" fmla="*/ 0 w 644"/>
                <a:gd name="T5" fmla="*/ 701 h 798"/>
                <a:gd name="T6" fmla="*/ 0 w 644"/>
                <a:gd name="T7" fmla="*/ 97 h 798"/>
                <a:gd name="T8" fmla="*/ 97 w 644"/>
                <a:gd name="T9" fmla="*/ 0 h 798"/>
                <a:gd name="T10" fmla="*/ 547 w 644"/>
                <a:gd name="T11" fmla="*/ 0 h 798"/>
                <a:gd name="T12" fmla="*/ 644 w 644"/>
                <a:gd name="T13" fmla="*/ 97 h 798"/>
                <a:gd name="T14" fmla="*/ 644 w 644"/>
                <a:gd name="T15" fmla="*/ 701 h 798"/>
                <a:gd name="T16" fmla="*/ 547 w 644"/>
                <a:gd name="T17" fmla="*/ 798 h 798"/>
                <a:gd name="T18" fmla="*/ 97 w 644"/>
                <a:gd name="T19" fmla="*/ 29 h 798"/>
                <a:gd name="T20" fmla="*/ 29 w 644"/>
                <a:gd name="T21" fmla="*/ 97 h 798"/>
                <a:gd name="T22" fmla="*/ 29 w 644"/>
                <a:gd name="T23" fmla="*/ 701 h 798"/>
                <a:gd name="T24" fmla="*/ 97 w 644"/>
                <a:gd name="T25" fmla="*/ 770 h 798"/>
                <a:gd name="T26" fmla="*/ 547 w 644"/>
                <a:gd name="T27" fmla="*/ 770 h 798"/>
                <a:gd name="T28" fmla="*/ 616 w 644"/>
                <a:gd name="T29" fmla="*/ 701 h 798"/>
                <a:gd name="T30" fmla="*/ 616 w 644"/>
                <a:gd name="T31" fmla="*/ 97 h 798"/>
                <a:gd name="T32" fmla="*/ 547 w 644"/>
                <a:gd name="T33" fmla="*/ 29 h 798"/>
                <a:gd name="T34" fmla="*/ 97 w 644"/>
                <a:gd name="T35" fmla="*/ 29 h 7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44" h="798">
                  <a:moveTo>
                    <a:pt x="547" y="798"/>
                  </a:moveTo>
                  <a:cubicBezTo>
                    <a:pt x="97" y="798"/>
                    <a:pt x="97" y="798"/>
                    <a:pt x="97" y="798"/>
                  </a:cubicBezTo>
                  <a:cubicBezTo>
                    <a:pt x="44" y="798"/>
                    <a:pt x="0" y="755"/>
                    <a:pt x="0" y="701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44"/>
                    <a:pt x="44" y="0"/>
                    <a:pt x="97" y="0"/>
                  </a:cubicBezTo>
                  <a:cubicBezTo>
                    <a:pt x="547" y="0"/>
                    <a:pt x="547" y="0"/>
                    <a:pt x="547" y="0"/>
                  </a:cubicBezTo>
                  <a:cubicBezTo>
                    <a:pt x="601" y="0"/>
                    <a:pt x="644" y="44"/>
                    <a:pt x="644" y="97"/>
                  </a:cubicBezTo>
                  <a:cubicBezTo>
                    <a:pt x="644" y="701"/>
                    <a:pt x="644" y="701"/>
                    <a:pt x="644" y="701"/>
                  </a:cubicBezTo>
                  <a:cubicBezTo>
                    <a:pt x="644" y="755"/>
                    <a:pt x="601" y="798"/>
                    <a:pt x="547" y="798"/>
                  </a:cubicBezTo>
                  <a:close/>
                  <a:moveTo>
                    <a:pt x="97" y="29"/>
                  </a:moveTo>
                  <a:cubicBezTo>
                    <a:pt x="60" y="29"/>
                    <a:pt x="29" y="60"/>
                    <a:pt x="29" y="97"/>
                  </a:cubicBezTo>
                  <a:cubicBezTo>
                    <a:pt x="29" y="701"/>
                    <a:pt x="29" y="701"/>
                    <a:pt x="29" y="701"/>
                  </a:cubicBezTo>
                  <a:cubicBezTo>
                    <a:pt x="29" y="739"/>
                    <a:pt x="60" y="770"/>
                    <a:pt x="97" y="770"/>
                  </a:cubicBezTo>
                  <a:cubicBezTo>
                    <a:pt x="547" y="770"/>
                    <a:pt x="547" y="770"/>
                    <a:pt x="547" y="770"/>
                  </a:cubicBezTo>
                  <a:cubicBezTo>
                    <a:pt x="585" y="770"/>
                    <a:pt x="616" y="739"/>
                    <a:pt x="616" y="701"/>
                  </a:cubicBezTo>
                  <a:cubicBezTo>
                    <a:pt x="616" y="97"/>
                    <a:pt x="616" y="97"/>
                    <a:pt x="616" y="97"/>
                  </a:cubicBezTo>
                  <a:cubicBezTo>
                    <a:pt x="616" y="60"/>
                    <a:pt x="585" y="29"/>
                    <a:pt x="547" y="29"/>
                  </a:cubicBezTo>
                  <a:lnTo>
                    <a:pt x="97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Freeform 627">
              <a:extLst>
                <a:ext uri="{FF2B5EF4-FFF2-40B4-BE49-F238E27FC236}">
                  <a16:creationId xmlns:a16="http://schemas.microsoft.com/office/drawing/2014/main" id="{751380EE-FFB8-A9E5-5BFD-34CDF97618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62513" y="6329363"/>
              <a:ext cx="285750" cy="374650"/>
            </a:xfrm>
            <a:custGeom>
              <a:avLst/>
              <a:gdLst>
                <a:gd name="T0" fmla="*/ 465 w 490"/>
                <a:gd name="T1" fmla="*/ 644 h 644"/>
                <a:gd name="T2" fmla="*/ 26 w 490"/>
                <a:gd name="T3" fmla="*/ 644 h 644"/>
                <a:gd name="T4" fmla="*/ 0 w 490"/>
                <a:gd name="T5" fmla="*/ 619 h 644"/>
                <a:gd name="T6" fmla="*/ 0 w 490"/>
                <a:gd name="T7" fmla="*/ 26 h 644"/>
                <a:gd name="T8" fmla="*/ 26 w 490"/>
                <a:gd name="T9" fmla="*/ 0 h 644"/>
                <a:gd name="T10" fmla="*/ 465 w 490"/>
                <a:gd name="T11" fmla="*/ 0 h 644"/>
                <a:gd name="T12" fmla="*/ 490 w 490"/>
                <a:gd name="T13" fmla="*/ 26 h 644"/>
                <a:gd name="T14" fmla="*/ 490 w 490"/>
                <a:gd name="T15" fmla="*/ 619 h 644"/>
                <a:gd name="T16" fmla="*/ 465 w 490"/>
                <a:gd name="T17" fmla="*/ 644 h 644"/>
                <a:gd name="T18" fmla="*/ 29 w 490"/>
                <a:gd name="T19" fmla="*/ 616 h 644"/>
                <a:gd name="T20" fmla="*/ 462 w 490"/>
                <a:gd name="T21" fmla="*/ 616 h 644"/>
                <a:gd name="T22" fmla="*/ 462 w 490"/>
                <a:gd name="T23" fmla="*/ 29 h 644"/>
                <a:gd name="T24" fmla="*/ 29 w 490"/>
                <a:gd name="T25" fmla="*/ 29 h 644"/>
                <a:gd name="T26" fmla="*/ 29 w 490"/>
                <a:gd name="T27" fmla="*/ 616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90" h="644">
                  <a:moveTo>
                    <a:pt x="465" y="644"/>
                  </a:moveTo>
                  <a:cubicBezTo>
                    <a:pt x="26" y="644"/>
                    <a:pt x="26" y="644"/>
                    <a:pt x="26" y="644"/>
                  </a:cubicBezTo>
                  <a:cubicBezTo>
                    <a:pt x="11" y="644"/>
                    <a:pt x="0" y="633"/>
                    <a:pt x="0" y="619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2"/>
                    <a:pt x="11" y="0"/>
                    <a:pt x="26" y="0"/>
                  </a:cubicBezTo>
                  <a:cubicBezTo>
                    <a:pt x="465" y="0"/>
                    <a:pt x="465" y="0"/>
                    <a:pt x="465" y="0"/>
                  </a:cubicBezTo>
                  <a:cubicBezTo>
                    <a:pt x="479" y="0"/>
                    <a:pt x="490" y="12"/>
                    <a:pt x="490" y="26"/>
                  </a:cubicBezTo>
                  <a:cubicBezTo>
                    <a:pt x="490" y="619"/>
                    <a:pt x="490" y="619"/>
                    <a:pt x="490" y="619"/>
                  </a:cubicBezTo>
                  <a:cubicBezTo>
                    <a:pt x="490" y="633"/>
                    <a:pt x="479" y="644"/>
                    <a:pt x="465" y="644"/>
                  </a:cubicBezTo>
                  <a:close/>
                  <a:moveTo>
                    <a:pt x="29" y="616"/>
                  </a:moveTo>
                  <a:cubicBezTo>
                    <a:pt x="462" y="616"/>
                    <a:pt x="462" y="616"/>
                    <a:pt x="462" y="616"/>
                  </a:cubicBezTo>
                  <a:cubicBezTo>
                    <a:pt x="462" y="29"/>
                    <a:pt x="462" y="29"/>
                    <a:pt x="462" y="29"/>
                  </a:cubicBezTo>
                  <a:cubicBezTo>
                    <a:pt x="29" y="29"/>
                    <a:pt x="29" y="29"/>
                    <a:pt x="29" y="29"/>
                  </a:cubicBezTo>
                  <a:lnTo>
                    <a:pt x="29" y="6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Freeform 628">
              <a:extLst>
                <a:ext uri="{FF2B5EF4-FFF2-40B4-BE49-F238E27FC236}">
                  <a16:creationId xmlns:a16="http://schemas.microsoft.com/office/drawing/2014/main" id="{EAD4A6DE-F9E9-E40E-1599-D2E7257E56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18063" y="6284913"/>
              <a:ext cx="374650" cy="465138"/>
            </a:xfrm>
            <a:custGeom>
              <a:avLst/>
              <a:gdLst>
                <a:gd name="T0" fmla="*/ 547 w 644"/>
                <a:gd name="T1" fmla="*/ 798 h 798"/>
                <a:gd name="T2" fmla="*/ 97 w 644"/>
                <a:gd name="T3" fmla="*/ 798 h 798"/>
                <a:gd name="T4" fmla="*/ 0 w 644"/>
                <a:gd name="T5" fmla="*/ 701 h 798"/>
                <a:gd name="T6" fmla="*/ 0 w 644"/>
                <a:gd name="T7" fmla="*/ 97 h 798"/>
                <a:gd name="T8" fmla="*/ 97 w 644"/>
                <a:gd name="T9" fmla="*/ 0 h 798"/>
                <a:gd name="T10" fmla="*/ 547 w 644"/>
                <a:gd name="T11" fmla="*/ 0 h 798"/>
                <a:gd name="T12" fmla="*/ 644 w 644"/>
                <a:gd name="T13" fmla="*/ 97 h 798"/>
                <a:gd name="T14" fmla="*/ 644 w 644"/>
                <a:gd name="T15" fmla="*/ 701 h 798"/>
                <a:gd name="T16" fmla="*/ 547 w 644"/>
                <a:gd name="T17" fmla="*/ 798 h 798"/>
                <a:gd name="T18" fmla="*/ 97 w 644"/>
                <a:gd name="T19" fmla="*/ 29 h 798"/>
                <a:gd name="T20" fmla="*/ 29 w 644"/>
                <a:gd name="T21" fmla="*/ 97 h 798"/>
                <a:gd name="T22" fmla="*/ 29 w 644"/>
                <a:gd name="T23" fmla="*/ 701 h 798"/>
                <a:gd name="T24" fmla="*/ 97 w 644"/>
                <a:gd name="T25" fmla="*/ 770 h 798"/>
                <a:gd name="T26" fmla="*/ 547 w 644"/>
                <a:gd name="T27" fmla="*/ 770 h 798"/>
                <a:gd name="T28" fmla="*/ 616 w 644"/>
                <a:gd name="T29" fmla="*/ 701 h 798"/>
                <a:gd name="T30" fmla="*/ 616 w 644"/>
                <a:gd name="T31" fmla="*/ 97 h 798"/>
                <a:gd name="T32" fmla="*/ 547 w 644"/>
                <a:gd name="T33" fmla="*/ 29 h 798"/>
                <a:gd name="T34" fmla="*/ 97 w 644"/>
                <a:gd name="T35" fmla="*/ 29 h 7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44" h="798">
                  <a:moveTo>
                    <a:pt x="547" y="798"/>
                  </a:moveTo>
                  <a:cubicBezTo>
                    <a:pt x="97" y="798"/>
                    <a:pt x="97" y="798"/>
                    <a:pt x="97" y="798"/>
                  </a:cubicBezTo>
                  <a:cubicBezTo>
                    <a:pt x="44" y="798"/>
                    <a:pt x="0" y="755"/>
                    <a:pt x="0" y="701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44"/>
                    <a:pt x="44" y="0"/>
                    <a:pt x="97" y="0"/>
                  </a:cubicBezTo>
                  <a:cubicBezTo>
                    <a:pt x="547" y="0"/>
                    <a:pt x="547" y="0"/>
                    <a:pt x="547" y="0"/>
                  </a:cubicBezTo>
                  <a:cubicBezTo>
                    <a:pt x="601" y="0"/>
                    <a:pt x="644" y="44"/>
                    <a:pt x="644" y="97"/>
                  </a:cubicBezTo>
                  <a:cubicBezTo>
                    <a:pt x="644" y="701"/>
                    <a:pt x="644" y="701"/>
                    <a:pt x="644" y="701"/>
                  </a:cubicBezTo>
                  <a:cubicBezTo>
                    <a:pt x="644" y="755"/>
                    <a:pt x="601" y="798"/>
                    <a:pt x="547" y="798"/>
                  </a:cubicBezTo>
                  <a:close/>
                  <a:moveTo>
                    <a:pt x="97" y="29"/>
                  </a:moveTo>
                  <a:cubicBezTo>
                    <a:pt x="60" y="29"/>
                    <a:pt x="29" y="60"/>
                    <a:pt x="29" y="97"/>
                  </a:cubicBezTo>
                  <a:cubicBezTo>
                    <a:pt x="29" y="701"/>
                    <a:pt x="29" y="701"/>
                    <a:pt x="29" y="701"/>
                  </a:cubicBezTo>
                  <a:cubicBezTo>
                    <a:pt x="29" y="739"/>
                    <a:pt x="60" y="770"/>
                    <a:pt x="97" y="770"/>
                  </a:cubicBezTo>
                  <a:cubicBezTo>
                    <a:pt x="547" y="770"/>
                    <a:pt x="547" y="770"/>
                    <a:pt x="547" y="770"/>
                  </a:cubicBezTo>
                  <a:cubicBezTo>
                    <a:pt x="585" y="770"/>
                    <a:pt x="616" y="739"/>
                    <a:pt x="616" y="701"/>
                  </a:cubicBezTo>
                  <a:cubicBezTo>
                    <a:pt x="616" y="97"/>
                    <a:pt x="616" y="97"/>
                    <a:pt x="616" y="97"/>
                  </a:cubicBezTo>
                  <a:cubicBezTo>
                    <a:pt x="616" y="60"/>
                    <a:pt x="585" y="29"/>
                    <a:pt x="547" y="29"/>
                  </a:cubicBezTo>
                  <a:lnTo>
                    <a:pt x="97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Freeform 629">
              <a:extLst>
                <a:ext uri="{FF2B5EF4-FFF2-40B4-BE49-F238E27FC236}">
                  <a16:creationId xmlns:a16="http://schemas.microsoft.com/office/drawing/2014/main" id="{0767B629-EEDF-668F-C036-BF4E60171D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62513" y="6329363"/>
              <a:ext cx="285750" cy="374650"/>
            </a:xfrm>
            <a:custGeom>
              <a:avLst/>
              <a:gdLst>
                <a:gd name="T0" fmla="*/ 465 w 490"/>
                <a:gd name="T1" fmla="*/ 644 h 644"/>
                <a:gd name="T2" fmla="*/ 26 w 490"/>
                <a:gd name="T3" fmla="*/ 644 h 644"/>
                <a:gd name="T4" fmla="*/ 0 w 490"/>
                <a:gd name="T5" fmla="*/ 619 h 644"/>
                <a:gd name="T6" fmla="*/ 0 w 490"/>
                <a:gd name="T7" fmla="*/ 26 h 644"/>
                <a:gd name="T8" fmla="*/ 26 w 490"/>
                <a:gd name="T9" fmla="*/ 0 h 644"/>
                <a:gd name="T10" fmla="*/ 465 w 490"/>
                <a:gd name="T11" fmla="*/ 0 h 644"/>
                <a:gd name="T12" fmla="*/ 490 w 490"/>
                <a:gd name="T13" fmla="*/ 26 h 644"/>
                <a:gd name="T14" fmla="*/ 490 w 490"/>
                <a:gd name="T15" fmla="*/ 619 h 644"/>
                <a:gd name="T16" fmla="*/ 465 w 490"/>
                <a:gd name="T17" fmla="*/ 644 h 644"/>
                <a:gd name="T18" fmla="*/ 29 w 490"/>
                <a:gd name="T19" fmla="*/ 616 h 644"/>
                <a:gd name="T20" fmla="*/ 462 w 490"/>
                <a:gd name="T21" fmla="*/ 616 h 644"/>
                <a:gd name="T22" fmla="*/ 462 w 490"/>
                <a:gd name="T23" fmla="*/ 29 h 644"/>
                <a:gd name="T24" fmla="*/ 29 w 490"/>
                <a:gd name="T25" fmla="*/ 29 h 644"/>
                <a:gd name="T26" fmla="*/ 29 w 490"/>
                <a:gd name="T27" fmla="*/ 616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90" h="644">
                  <a:moveTo>
                    <a:pt x="465" y="644"/>
                  </a:moveTo>
                  <a:cubicBezTo>
                    <a:pt x="26" y="644"/>
                    <a:pt x="26" y="644"/>
                    <a:pt x="26" y="644"/>
                  </a:cubicBezTo>
                  <a:cubicBezTo>
                    <a:pt x="11" y="644"/>
                    <a:pt x="0" y="633"/>
                    <a:pt x="0" y="619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2"/>
                    <a:pt x="11" y="0"/>
                    <a:pt x="26" y="0"/>
                  </a:cubicBezTo>
                  <a:cubicBezTo>
                    <a:pt x="465" y="0"/>
                    <a:pt x="465" y="0"/>
                    <a:pt x="465" y="0"/>
                  </a:cubicBezTo>
                  <a:cubicBezTo>
                    <a:pt x="479" y="0"/>
                    <a:pt x="490" y="12"/>
                    <a:pt x="490" y="26"/>
                  </a:cubicBezTo>
                  <a:cubicBezTo>
                    <a:pt x="490" y="619"/>
                    <a:pt x="490" y="619"/>
                    <a:pt x="490" y="619"/>
                  </a:cubicBezTo>
                  <a:cubicBezTo>
                    <a:pt x="490" y="633"/>
                    <a:pt x="479" y="644"/>
                    <a:pt x="465" y="644"/>
                  </a:cubicBezTo>
                  <a:close/>
                  <a:moveTo>
                    <a:pt x="29" y="616"/>
                  </a:moveTo>
                  <a:cubicBezTo>
                    <a:pt x="462" y="616"/>
                    <a:pt x="462" y="616"/>
                    <a:pt x="462" y="616"/>
                  </a:cubicBezTo>
                  <a:cubicBezTo>
                    <a:pt x="462" y="29"/>
                    <a:pt x="462" y="29"/>
                    <a:pt x="462" y="29"/>
                  </a:cubicBezTo>
                  <a:cubicBezTo>
                    <a:pt x="29" y="29"/>
                    <a:pt x="29" y="29"/>
                    <a:pt x="29" y="29"/>
                  </a:cubicBezTo>
                  <a:lnTo>
                    <a:pt x="29" y="6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Freeform 630">
              <a:extLst>
                <a:ext uri="{FF2B5EF4-FFF2-40B4-BE49-F238E27FC236}">
                  <a16:creationId xmlns:a16="http://schemas.microsoft.com/office/drawing/2014/main" id="{0F07508E-3DB7-0CB2-FAA2-5A6A9381EE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41888" y="6411913"/>
              <a:ext cx="127000" cy="206375"/>
            </a:xfrm>
            <a:custGeom>
              <a:avLst/>
              <a:gdLst>
                <a:gd name="T0" fmla="*/ 20 w 80"/>
                <a:gd name="T1" fmla="*/ 130 h 130"/>
                <a:gd name="T2" fmla="*/ 18 w 80"/>
                <a:gd name="T3" fmla="*/ 88 h 130"/>
                <a:gd name="T4" fmla="*/ 0 w 80"/>
                <a:gd name="T5" fmla="*/ 78 h 130"/>
                <a:gd name="T6" fmla="*/ 61 w 80"/>
                <a:gd name="T7" fmla="*/ 0 h 130"/>
                <a:gd name="T8" fmla="*/ 61 w 80"/>
                <a:gd name="T9" fmla="*/ 48 h 130"/>
                <a:gd name="T10" fmla="*/ 80 w 80"/>
                <a:gd name="T11" fmla="*/ 58 h 130"/>
                <a:gd name="T12" fmla="*/ 20 w 80"/>
                <a:gd name="T13" fmla="*/ 130 h 130"/>
                <a:gd name="T14" fmla="*/ 16 w 80"/>
                <a:gd name="T15" fmla="*/ 75 h 130"/>
                <a:gd name="T16" fmla="*/ 29 w 80"/>
                <a:gd name="T17" fmla="*/ 82 h 130"/>
                <a:gd name="T18" fmla="*/ 30 w 80"/>
                <a:gd name="T19" fmla="*/ 102 h 130"/>
                <a:gd name="T20" fmla="*/ 63 w 80"/>
                <a:gd name="T21" fmla="*/ 61 h 130"/>
                <a:gd name="T22" fmla="*/ 50 w 80"/>
                <a:gd name="T23" fmla="*/ 54 h 130"/>
                <a:gd name="T24" fmla="*/ 50 w 80"/>
                <a:gd name="T25" fmla="*/ 31 h 130"/>
                <a:gd name="T26" fmla="*/ 16 w 80"/>
                <a:gd name="T27" fmla="*/ 75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0" h="130">
                  <a:moveTo>
                    <a:pt x="20" y="130"/>
                  </a:moveTo>
                  <a:lnTo>
                    <a:pt x="18" y="88"/>
                  </a:lnTo>
                  <a:lnTo>
                    <a:pt x="0" y="78"/>
                  </a:lnTo>
                  <a:lnTo>
                    <a:pt x="61" y="0"/>
                  </a:lnTo>
                  <a:lnTo>
                    <a:pt x="61" y="48"/>
                  </a:lnTo>
                  <a:lnTo>
                    <a:pt x="80" y="58"/>
                  </a:lnTo>
                  <a:lnTo>
                    <a:pt x="20" y="130"/>
                  </a:lnTo>
                  <a:close/>
                  <a:moveTo>
                    <a:pt x="16" y="75"/>
                  </a:moveTo>
                  <a:lnTo>
                    <a:pt x="29" y="82"/>
                  </a:lnTo>
                  <a:lnTo>
                    <a:pt x="30" y="102"/>
                  </a:lnTo>
                  <a:lnTo>
                    <a:pt x="63" y="61"/>
                  </a:lnTo>
                  <a:lnTo>
                    <a:pt x="50" y="54"/>
                  </a:lnTo>
                  <a:lnTo>
                    <a:pt x="50" y="31"/>
                  </a:lnTo>
                  <a:lnTo>
                    <a:pt x="16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66" name="Text Placeholder 62">
            <a:extLst>
              <a:ext uri="{FF2B5EF4-FFF2-40B4-BE49-F238E27FC236}">
                <a16:creationId xmlns:a16="http://schemas.microsoft.com/office/drawing/2014/main" id="{E6CB1444-C032-1E8D-A020-A6757E2DB32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20154" y="2805824"/>
            <a:ext cx="2922658" cy="6125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/>
            </a:lvl1pPr>
          </a:lstStyle>
          <a:p>
            <a:pPr lvl="0"/>
            <a:endParaRPr lang="en-GB"/>
          </a:p>
        </p:txBody>
      </p:sp>
      <p:sp>
        <p:nvSpPr>
          <p:cNvPr id="67" name="Text Placeholder 62">
            <a:extLst>
              <a:ext uri="{FF2B5EF4-FFF2-40B4-BE49-F238E27FC236}">
                <a16:creationId xmlns:a16="http://schemas.microsoft.com/office/drawing/2014/main" id="{8BB25E3F-C7C0-EB6A-D7F8-049F2723B94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853012" y="2805824"/>
            <a:ext cx="2922658" cy="6125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/>
            </a:lvl1pPr>
          </a:lstStyle>
          <a:p>
            <a:pPr lvl="0"/>
            <a:endParaRPr lang="en-GB"/>
          </a:p>
        </p:txBody>
      </p:sp>
      <p:sp>
        <p:nvSpPr>
          <p:cNvPr id="68" name="Title 3">
            <a:extLst>
              <a:ext uri="{FF2B5EF4-FFF2-40B4-BE49-F238E27FC236}">
                <a16:creationId xmlns:a16="http://schemas.microsoft.com/office/drawing/2014/main" id="{E41E7F2B-85F3-D809-8641-C7CF51B098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53" y="399899"/>
            <a:ext cx="11400896" cy="864810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2627840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come slide_alt layout_4 item_edi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0718E30C-86B9-C39C-549F-6CB029145D6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92907" y="1820334"/>
            <a:ext cx="613833" cy="6125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33"/>
            </a:lvl1pPr>
          </a:lstStyle>
          <a:p>
            <a:endParaRPr lang="en-GB"/>
          </a:p>
        </p:txBody>
      </p:sp>
      <p:sp>
        <p:nvSpPr>
          <p:cNvPr id="64" name="Text Placeholder 62">
            <a:extLst>
              <a:ext uri="{FF2B5EF4-FFF2-40B4-BE49-F238E27FC236}">
                <a16:creationId xmlns:a16="http://schemas.microsoft.com/office/drawing/2014/main" id="{AB7A5318-3874-9211-9303-A68036C6C3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187297" y="2816490"/>
            <a:ext cx="2922658" cy="6125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/>
            </a:lvl1pPr>
          </a:lstStyle>
          <a:p>
            <a:pPr lvl="0"/>
            <a:endParaRPr lang="en-GB"/>
          </a:p>
        </p:txBody>
      </p:sp>
      <p:sp>
        <p:nvSpPr>
          <p:cNvPr id="63" name="Text Placeholder 62">
            <a:extLst>
              <a:ext uri="{FF2B5EF4-FFF2-40B4-BE49-F238E27FC236}">
                <a16:creationId xmlns:a16="http://schemas.microsoft.com/office/drawing/2014/main" id="{07984E74-E81B-850F-6F98-3E2EFD7983D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13737" y="2805824"/>
            <a:ext cx="2922658" cy="6125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/>
            </a:lvl1pPr>
          </a:lstStyle>
          <a:p>
            <a:pPr lvl="0"/>
            <a:endParaRPr lang="en-GB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F67DB546-F681-C0FB-9937-DB1EB0A433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03618" y="3531534"/>
            <a:ext cx="2872052" cy="2849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/>
            </a:lvl1pPr>
          </a:lstStyle>
          <a:p>
            <a:pPr lvl="0"/>
            <a:endParaRPr lang="en-GB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C22945E8-CD43-F74A-591A-E943995A747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58373" y="3541430"/>
            <a:ext cx="2555875" cy="2849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/>
            </a:lvl1pPr>
          </a:lstStyle>
          <a:p>
            <a:pPr lvl="0"/>
            <a:endParaRPr lang="en-GB"/>
          </a:p>
        </p:txBody>
      </p:sp>
      <p:sp>
        <p:nvSpPr>
          <p:cNvPr id="51" name="Text Placeholder 50">
            <a:extLst>
              <a:ext uri="{FF2B5EF4-FFF2-40B4-BE49-F238E27FC236}">
                <a16:creationId xmlns:a16="http://schemas.microsoft.com/office/drawing/2014/main" id="{A617C1B9-05D0-8B24-9AF3-BB8FEE6E1C8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25640" y="3541430"/>
            <a:ext cx="2555875" cy="2849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/>
            </a:lvl1pPr>
          </a:lstStyle>
          <a:p>
            <a:pPr lvl="0"/>
            <a:endParaRPr lang="en-GB"/>
          </a:p>
        </p:txBody>
      </p:sp>
      <p:sp>
        <p:nvSpPr>
          <p:cNvPr id="48" name="Text Placeholder 47">
            <a:extLst>
              <a:ext uri="{FF2B5EF4-FFF2-40B4-BE49-F238E27FC236}">
                <a16:creationId xmlns:a16="http://schemas.microsoft.com/office/drawing/2014/main" id="{12513FF7-4826-328B-DF42-0F53D70FAD5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2907" y="3541449"/>
            <a:ext cx="2555875" cy="2849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/>
            </a:lvl1pPr>
          </a:lstStyle>
          <a:p>
            <a:pPr lvl="0"/>
            <a:endParaRPr lang="en-GB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B89995A-D65B-F2AA-353B-15AB066FB5BB}"/>
              </a:ext>
            </a:extLst>
          </p:cNvPr>
          <p:cNvGrpSpPr/>
          <p:nvPr userDrawn="1"/>
        </p:nvGrpSpPr>
        <p:grpSpPr>
          <a:xfrm>
            <a:off x="395552" y="2532728"/>
            <a:ext cx="11400896" cy="150000"/>
            <a:chOff x="474662" y="2826997"/>
            <a:chExt cx="11001601" cy="18000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3D148339-3F11-C7E4-96F9-919E00258F2C}"/>
                </a:ext>
              </a:extLst>
            </p:cNvPr>
            <p:cNvSpPr/>
            <p:nvPr/>
          </p:nvSpPr>
          <p:spPr>
            <a:xfrm>
              <a:off x="474662" y="2826997"/>
              <a:ext cx="2772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5C596B5D-A1A6-2EF5-511B-E4E3F70A7FFF}"/>
                </a:ext>
              </a:extLst>
            </p:cNvPr>
            <p:cNvSpPr/>
            <p:nvPr/>
          </p:nvSpPr>
          <p:spPr>
            <a:xfrm>
              <a:off x="3217863" y="2826997"/>
              <a:ext cx="2772000" cy="18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6AC18E67-BFEE-DC2C-BD72-950792F1E350}"/>
                </a:ext>
              </a:extLst>
            </p:cNvPr>
            <p:cNvSpPr/>
            <p:nvPr/>
          </p:nvSpPr>
          <p:spPr>
            <a:xfrm>
              <a:off x="5961062" y="2826997"/>
              <a:ext cx="27720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AC5FB87-A0FD-8203-4D36-C9ACDC12F01D}"/>
                </a:ext>
              </a:extLst>
            </p:cNvPr>
            <p:cNvSpPr/>
            <p:nvPr/>
          </p:nvSpPr>
          <p:spPr>
            <a:xfrm>
              <a:off x="8704263" y="2826997"/>
              <a:ext cx="2772000" cy="18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66" name="Text Placeholder 62">
            <a:extLst>
              <a:ext uri="{FF2B5EF4-FFF2-40B4-BE49-F238E27FC236}">
                <a16:creationId xmlns:a16="http://schemas.microsoft.com/office/drawing/2014/main" id="{E6CB1444-C032-1E8D-A020-A6757E2DB32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20154" y="2805824"/>
            <a:ext cx="2922658" cy="6125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/>
            </a:lvl1pPr>
          </a:lstStyle>
          <a:p>
            <a:pPr lvl="0"/>
            <a:endParaRPr lang="en-GB"/>
          </a:p>
        </p:txBody>
      </p:sp>
      <p:sp>
        <p:nvSpPr>
          <p:cNvPr id="67" name="Text Placeholder 62">
            <a:extLst>
              <a:ext uri="{FF2B5EF4-FFF2-40B4-BE49-F238E27FC236}">
                <a16:creationId xmlns:a16="http://schemas.microsoft.com/office/drawing/2014/main" id="{8BB25E3F-C7C0-EB6A-D7F8-049F2723B94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853012" y="2805824"/>
            <a:ext cx="2922658" cy="6125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/>
            </a:lvl1pPr>
          </a:lstStyle>
          <a:p>
            <a:pPr lvl="0"/>
            <a:endParaRPr lang="en-GB"/>
          </a:p>
        </p:txBody>
      </p:sp>
      <p:sp>
        <p:nvSpPr>
          <p:cNvPr id="68" name="Title 3">
            <a:extLst>
              <a:ext uri="{FF2B5EF4-FFF2-40B4-BE49-F238E27FC236}">
                <a16:creationId xmlns:a16="http://schemas.microsoft.com/office/drawing/2014/main" id="{E41E7F2B-85F3-D809-8641-C7CF51B098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53" y="399899"/>
            <a:ext cx="11400896" cy="864810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3A69B1FC-428E-214E-3CB5-B5EF17ED238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236394" y="1820334"/>
            <a:ext cx="613833" cy="6125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33"/>
            </a:lvl1pPr>
          </a:lstStyle>
          <a:p>
            <a:endParaRPr lang="en-GB"/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55614D37-5041-B62B-BB67-930917C2E6D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77201" y="1820334"/>
            <a:ext cx="613833" cy="6125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33"/>
            </a:lvl1pPr>
          </a:lstStyle>
          <a:p>
            <a:endParaRPr lang="en-GB"/>
          </a:p>
        </p:txBody>
      </p:sp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82C5CC7F-0877-63F2-EA0A-0F15AF81814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923840" y="1820334"/>
            <a:ext cx="613833" cy="6125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33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835760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come slide_alt layout_3 it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 Placeholder 62">
            <a:extLst>
              <a:ext uri="{FF2B5EF4-FFF2-40B4-BE49-F238E27FC236}">
                <a16:creationId xmlns:a16="http://schemas.microsoft.com/office/drawing/2014/main" id="{AB7A5318-3874-9211-9303-A68036C6C3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63695" y="2816490"/>
            <a:ext cx="3493239" cy="6125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63" name="Text Placeholder 62">
            <a:extLst>
              <a:ext uri="{FF2B5EF4-FFF2-40B4-BE49-F238E27FC236}">
                <a16:creationId xmlns:a16="http://schemas.microsoft.com/office/drawing/2014/main" id="{07984E74-E81B-850F-6F98-3E2EFD7983D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471" y="2805824"/>
            <a:ext cx="3493239" cy="6125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C22945E8-CD43-F74A-591A-E943995A747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920357" y="3541430"/>
            <a:ext cx="3497353" cy="2849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/>
            </a:lvl1pPr>
          </a:lstStyle>
          <a:p>
            <a:pPr lvl="0"/>
            <a:endParaRPr lang="en-GB"/>
          </a:p>
        </p:txBody>
      </p:sp>
      <p:sp>
        <p:nvSpPr>
          <p:cNvPr id="51" name="Text Placeholder 50">
            <a:extLst>
              <a:ext uri="{FF2B5EF4-FFF2-40B4-BE49-F238E27FC236}">
                <a16:creationId xmlns:a16="http://schemas.microsoft.com/office/drawing/2014/main" id="{A617C1B9-05D0-8B24-9AF3-BB8FEE6E1C8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59704" y="3541430"/>
            <a:ext cx="3497353" cy="2849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/>
            </a:lvl1pPr>
          </a:lstStyle>
          <a:p>
            <a:pPr lvl="0"/>
            <a:endParaRPr lang="en-GB"/>
          </a:p>
        </p:txBody>
      </p:sp>
      <p:sp>
        <p:nvSpPr>
          <p:cNvPr id="48" name="Text Placeholder 47">
            <a:extLst>
              <a:ext uri="{FF2B5EF4-FFF2-40B4-BE49-F238E27FC236}">
                <a16:creationId xmlns:a16="http://schemas.microsoft.com/office/drawing/2014/main" id="{12513FF7-4826-328B-DF42-0F53D70FAD5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2907" y="3541449"/>
            <a:ext cx="3497353" cy="2849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/>
            </a:lvl1pPr>
          </a:lstStyle>
          <a:p>
            <a:pPr lvl="0"/>
            <a:endParaRPr lang="en-GB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B89995A-D65B-F2AA-353B-15AB066FB5BB}"/>
              </a:ext>
            </a:extLst>
          </p:cNvPr>
          <p:cNvGrpSpPr/>
          <p:nvPr userDrawn="1"/>
        </p:nvGrpSpPr>
        <p:grpSpPr>
          <a:xfrm>
            <a:off x="395552" y="2532728"/>
            <a:ext cx="11400896" cy="150000"/>
            <a:chOff x="474662" y="2826997"/>
            <a:chExt cx="8258400" cy="18000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3D148339-3F11-C7E4-96F9-919E00258F2C}"/>
                </a:ext>
              </a:extLst>
            </p:cNvPr>
            <p:cNvSpPr/>
            <p:nvPr/>
          </p:nvSpPr>
          <p:spPr>
            <a:xfrm>
              <a:off x="474662" y="2826997"/>
              <a:ext cx="2772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5C596B5D-A1A6-2EF5-511B-E4E3F70A7FFF}"/>
                </a:ext>
              </a:extLst>
            </p:cNvPr>
            <p:cNvSpPr/>
            <p:nvPr/>
          </p:nvSpPr>
          <p:spPr>
            <a:xfrm>
              <a:off x="3217863" y="2826997"/>
              <a:ext cx="2772000" cy="18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6AC18E67-BFEE-DC2C-BD72-950792F1E350}"/>
                </a:ext>
              </a:extLst>
            </p:cNvPr>
            <p:cNvSpPr/>
            <p:nvPr/>
          </p:nvSpPr>
          <p:spPr>
            <a:xfrm>
              <a:off x="5961062" y="2826997"/>
              <a:ext cx="27720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0B10424-5DA7-B9F3-1524-6402E117795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25944" y="1856509"/>
            <a:ext cx="534838" cy="531188"/>
            <a:chOff x="11052176" y="6284913"/>
            <a:chExt cx="465138" cy="461963"/>
          </a:xfrm>
          <a:solidFill>
            <a:schemeClr val="accent1"/>
          </a:solidFill>
        </p:grpSpPr>
        <p:sp>
          <p:nvSpPr>
            <p:cNvPr id="16" name="Freeform 673">
              <a:extLst>
                <a:ext uri="{FF2B5EF4-FFF2-40B4-BE49-F238E27FC236}">
                  <a16:creationId xmlns:a16="http://schemas.microsoft.com/office/drawing/2014/main" id="{EE47340F-47C4-92CC-F8CC-258C7263C9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96626" y="6329363"/>
              <a:ext cx="376238" cy="241300"/>
            </a:xfrm>
            <a:custGeom>
              <a:avLst/>
              <a:gdLst>
                <a:gd name="T0" fmla="*/ 237 w 237"/>
                <a:gd name="T1" fmla="*/ 152 h 152"/>
                <a:gd name="T2" fmla="*/ 0 w 237"/>
                <a:gd name="T3" fmla="*/ 152 h 152"/>
                <a:gd name="T4" fmla="*/ 0 w 237"/>
                <a:gd name="T5" fmla="*/ 0 h 152"/>
                <a:gd name="T6" fmla="*/ 237 w 237"/>
                <a:gd name="T7" fmla="*/ 0 h 152"/>
                <a:gd name="T8" fmla="*/ 237 w 237"/>
                <a:gd name="T9" fmla="*/ 152 h 152"/>
                <a:gd name="T10" fmla="*/ 11 w 237"/>
                <a:gd name="T11" fmla="*/ 141 h 152"/>
                <a:gd name="T12" fmla="*/ 226 w 237"/>
                <a:gd name="T13" fmla="*/ 141 h 152"/>
                <a:gd name="T14" fmla="*/ 226 w 237"/>
                <a:gd name="T15" fmla="*/ 11 h 152"/>
                <a:gd name="T16" fmla="*/ 11 w 237"/>
                <a:gd name="T17" fmla="*/ 11 h 152"/>
                <a:gd name="T18" fmla="*/ 11 w 237"/>
                <a:gd name="T19" fmla="*/ 141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7" h="152">
                  <a:moveTo>
                    <a:pt x="237" y="152"/>
                  </a:moveTo>
                  <a:lnTo>
                    <a:pt x="0" y="152"/>
                  </a:lnTo>
                  <a:lnTo>
                    <a:pt x="0" y="0"/>
                  </a:lnTo>
                  <a:lnTo>
                    <a:pt x="237" y="0"/>
                  </a:lnTo>
                  <a:lnTo>
                    <a:pt x="237" y="152"/>
                  </a:lnTo>
                  <a:close/>
                  <a:moveTo>
                    <a:pt x="11" y="141"/>
                  </a:moveTo>
                  <a:lnTo>
                    <a:pt x="226" y="141"/>
                  </a:lnTo>
                  <a:lnTo>
                    <a:pt x="226" y="11"/>
                  </a:lnTo>
                  <a:lnTo>
                    <a:pt x="11" y="11"/>
                  </a:lnTo>
                  <a:lnTo>
                    <a:pt x="11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Freeform 674">
              <a:extLst>
                <a:ext uri="{FF2B5EF4-FFF2-40B4-BE49-F238E27FC236}">
                  <a16:creationId xmlns:a16="http://schemas.microsoft.com/office/drawing/2014/main" id="{1AE12607-4082-B330-4EED-600E20B920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98238" y="6599238"/>
              <a:ext cx="58738" cy="147638"/>
            </a:xfrm>
            <a:custGeom>
              <a:avLst/>
              <a:gdLst>
                <a:gd name="T0" fmla="*/ 30 w 37"/>
                <a:gd name="T1" fmla="*/ 93 h 93"/>
                <a:gd name="T2" fmla="*/ 0 w 37"/>
                <a:gd name="T3" fmla="*/ 62 h 93"/>
                <a:gd name="T4" fmla="*/ 0 w 37"/>
                <a:gd name="T5" fmla="*/ 0 h 93"/>
                <a:gd name="T6" fmla="*/ 11 w 37"/>
                <a:gd name="T7" fmla="*/ 0 h 93"/>
                <a:gd name="T8" fmla="*/ 11 w 37"/>
                <a:gd name="T9" fmla="*/ 58 h 93"/>
                <a:gd name="T10" fmla="*/ 37 w 37"/>
                <a:gd name="T11" fmla="*/ 86 h 93"/>
                <a:gd name="T12" fmla="*/ 30 w 37"/>
                <a:gd name="T13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93">
                  <a:moveTo>
                    <a:pt x="30" y="93"/>
                  </a:moveTo>
                  <a:lnTo>
                    <a:pt x="0" y="6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58"/>
                  </a:lnTo>
                  <a:lnTo>
                    <a:pt x="37" y="86"/>
                  </a:lnTo>
                  <a:lnTo>
                    <a:pt x="3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675">
              <a:extLst>
                <a:ext uri="{FF2B5EF4-FFF2-40B4-BE49-F238E27FC236}">
                  <a16:creationId xmlns:a16="http://schemas.microsoft.com/office/drawing/2014/main" id="{4D8A3F69-DB70-78FB-8DB3-B12EA2B383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0926" y="6599238"/>
              <a:ext cx="58738" cy="147638"/>
            </a:xfrm>
            <a:custGeom>
              <a:avLst/>
              <a:gdLst>
                <a:gd name="T0" fmla="*/ 8 w 37"/>
                <a:gd name="T1" fmla="*/ 93 h 93"/>
                <a:gd name="T2" fmla="*/ 0 w 37"/>
                <a:gd name="T3" fmla="*/ 86 h 93"/>
                <a:gd name="T4" fmla="*/ 27 w 37"/>
                <a:gd name="T5" fmla="*/ 58 h 93"/>
                <a:gd name="T6" fmla="*/ 27 w 37"/>
                <a:gd name="T7" fmla="*/ 0 h 93"/>
                <a:gd name="T8" fmla="*/ 37 w 37"/>
                <a:gd name="T9" fmla="*/ 0 h 93"/>
                <a:gd name="T10" fmla="*/ 37 w 37"/>
                <a:gd name="T11" fmla="*/ 62 h 93"/>
                <a:gd name="T12" fmla="*/ 8 w 37"/>
                <a:gd name="T13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93">
                  <a:moveTo>
                    <a:pt x="8" y="93"/>
                  </a:moveTo>
                  <a:lnTo>
                    <a:pt x="0" y="86"/>
                  </a:lnTo>
                  <a:lnTo>
                    <a:pt x="27" y="58"/>
                  </a:lnTo>
                  <a:lnTo>
                    <a:pt x="27" y="0"/>
                  </a:lnTo>
                  <a:lnTo>
                    <a:pt x="37" y="0"/>
                  </a:lnTo>
                  <a:lnTo>
                    <a:pt x="37" y="62"/>
                  </a:lnTo>
                  <a:lnTo>
                    <a:pt x="8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Freeform 676">
              <a:extLst>
                <a:ext uri="{FF2B5EF4-FFF2-40B4-BE49-F238E27FC236}">
                  <a16:creationId xmlns:a16="http://schemas.microsoft.com/office/drawing/2014/main" id="{3B8BE11F-5DBC-BEDD-6D04-DD17CE0F6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55363" y="6399213"/>
              <a:ext cx="258763" cy="92075"/>
            </a:xfrm>
            <a:custGeom>
              <a:avLst/>
              <a:gdLst>
                <a:gd name="T0" fmla="*/ 97 w 163"/>
                <a:gd name="T1" fmla="*/ 58 h 58"/>
                <a:gd name="T2" fmla="*/ 35 w 163"/>
                <a:gd name="T3" fmla="*/ 14 h 58"/>
                <a:gd name="T4" fmla="*/ 7 w 163"/>
                <a:gd name="T5" fmla="*/ 41 h 58"/>
                <a:gd name="T6" fmla="*/ 0 w 163"/>
                <a:gd name="T7" fmla="*/ 33 h 58"/>
                <a:gd name="T8" fmla="*/ 34 w 163"/>
                <a:gd name="T9" fmla="*/ 0 h 58"/>
                <a:gd name="T10" fmla="*/ 97 w 163"/>
                <a:gd name="T11" fmla="*/ 45 h 58"/>
                <a:gd name="T12" fmla="*/ 157 w 163"/>
                <a:gd name="T13" fmla="*/ 3 h 58"/>
                <a:gd name="T14" fmla="*/ 163 w 163"/>
                <a:gd name="T15" fmla="*/ 12 h 58"/>
                <a:gd name="T16" fmla="*/ 97 w 163"/>
                <a:gd name="T17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3" h="58">
                  <a:moveTo>
                    <a:pt x="97" y="58"/>
                  </a:moveTo>
                  <a:lnTo>
                    <a:pt x="35" y="14"/>
                  </a:lnTo>
                  <a:lnTo>
                    <a:pt x="7" y="41"/>
                  </a:lnTo>
                  <a:lnTo>
                    <a:pt x="0" y="33"/>
                  </a:lnTo>
                  <a:lnTo>
                    <a:pt x="34" y="0"/>
                  </a:lnTo>
                  <a:lnTo>
                    <a:pt x="97" y="45"/>
                  </a:lnTo>
                  <a:lnTo>
                    <a:pt x="157" y="3"/>
                  </a:lnTo>
                  <a:lnTo>
                    <a:pt x="163" y="12"/>
                  </a:lnTo>
                  <a:lnTo>
                    <a:pt x="97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Freeform 677">
              <a:extLst>
                <a:ext uri="{FF2B5EF4-FFF2-40B4-BE49-F238E27FC236}">
                  <a16:creationId xmlns:a16="http://schemas.microsoft.com/office/drawing/2014/main" id="{AB617072-6A32-6826-869D-8DA0042871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52176" y="6284913"/>
              <a:ext cx="465138" cy="330200"/>
            </a:xfrm>
            <a:custGeom>
              <a:avLst/>
              <a:gdLst>
                <a:gd name="T0" fmla="*/ 293 w 293"/>
                <a:gd name="T1" fmla="*/ 208 h 208"/>
                <a:gd name="T2" fmla="*/ 0 w 293"/>
                <a:gd name="T3" fmla="*/ 208 h 208"/>
                <a:gd name="T4" fmla="*/ 0 w 293"/>
                <a:gd name="T5" fmla="*/ 0 h 208"/>
                <a:gd name="T6" fmla="*/ 293 w 293"/>
                <a:gd name="T7" fmla="*/ 0 h 208"/>
                <a:gd name="T8" fmla="*/ 293 w 293"/>
                <a:gd name="T9" fmla="*/ 208 h 208"/>
                <a:gd name="T10" fmla="*/ 10 w 293"/>
                <a:gd name="T11" fmla="*/ 198 h 208"/>
                <a:gd name="T12" fmla="*/ 282 w 293"/>
                <a:gd name="T13" fmla="*/ 198 h 208"/>
                <a:gd name="T14" fmla="*/ 282 w 293"/>
                <a:gd name="T15" fmla="*/ 10 h 208"/>
                <a:gd name="T16" fmla="*/ 10 w 293"/>
                <a:gd name="T17" fmla="*/ 10 h 208"/>
                <a:gd name="T18" fmla="*/ 10 w 293"/>
                <a:gd name="T19" fmla="*/ 19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3" h="208">
                  <a:moveTo>
                    <a:pt x="293" y="208"/>
                  </a:moveTo>
                  <a:lnTo>
                    <a:pt x="0" y="208"/>
                  </a:lnTo>
                  <a:lnTo>
                    <a:pt x="0" y="0"/>
                  </a:lnTo>
                  <a:lnTo>
                    <a:pt x="293" y="0"/>
                  </a:lnTo>
                  <a:lnTo>
                    <a:pt x="293" y="208"/>
                  </a:lnTo>
                  <a:close/>
                  <a:moveTo>
                    <a:pt x="10" y="198"/>
                  </a:moveTo>
                  <a:lnTo>
                    <a:pt x="282" y="198"/>
                  </a:lnTo>
                  <a:lnTo>
                    <a:pt x="282" y="10"/>
                  </a:lnTo>
                  <a:lnTo>
                    <a:pt x="10" y="10"/>
                  </a:lnTo>
                  <a:lnTo>
                    <a:pt x="10" y="1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DE935898-66F5-1398-44F5-10DA873F78E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222041" y="1819762"/>
            <a:ext cx="403175" cy="567934"/>
            <a:chOff x="12015788" y="5387975"/>
            <a:chExt cx="330200" cy="465138"/>
          </a:xfrm>
          <a:solidFill>
            <a:schemeClr val="accent2"/>
          </a:solidFill>
        </p:grpSpPr>
        <p:sp>
          <p:nvSpPr>
            <p:cNvPr id="34" name="Freeform 597">
              <a:extLst>
                <a:ext uri="{FF2B5EF4-FFF2-40B4-BE49-F238E27FC236}">
                  <a16:creationId xmlns:a16="http://schemas.microsoft.com/office/drawing/2014/main" id="{7D637A1E-BABE-5408-5CED-02F3EF0344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061826" y="5432425"/>
              <a:ext cx="239713" cy="374650"/>
            </a:xfrm>
            <a:custGeom>
              <a:avLst/>
              <a:gdLst>
                <a:gd name="T0" fmla="*/ 151 w 151"/>
                <a:gd name="T1" fmla="*/ 236 h 236"/>
                <a:gd name="T2" fmla="*/ 0 w 151"/>
                <a:gd name="T3" fmla="*/ 236 h 236"/>
                <a:gd name="T4" fmla="*/ 0 w 151"/>
                <a:gd name="T5" fmla="*/ 0 h 236"/>
                <a:gd name="T6" fmla="*/ 151 w 151"/>
                <a:gd name="T7" fmla="*/ 0 h 236"/>
                <a:gd name="T8" fmla="*/ 151 w 151"/>
                <a:gd name="T9" fmla="*/ 236 h 236"/>
                <a:gd name="T10" fmla="*/ 10 w 151"/>
                <a:gd name="T11" fmla="*/ 226 h 236"/>
                <a:gd name="T12" fmla="*/ 141 w 151"/>
                <a:gd name="T13" fmla="*/ 226 h 236"/>
                <a:gd name="T14" fmla="*/ 141 w 151"/>
                <a:gd name="T15" fmla="*/ 11 h 236"/>
                <a:gd name="T16" fmla="*/ 10 w 151"/>
                <a:gd name="T17" fmla="*/ 11 h 236"/>
                <a:gd name="T18" fmla="*/ 10 w 151"/>
                <a:gd name="T19" fmla="*/ 226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1" h="236">
                  <a:moveTo>
                    <a:pt x="151" y="236"/>
                  </a:moveTo>
                  <a:lnTo>
                    <a:pt x="0" y="236"/>
                  </a:lnTo>
                  <a:lnTo>
                    <a:pt x="0" y="0"/>
                  </a:lnTo>
                  <a:lnTo>
                    <a:pt x="151" y="0"/>
                  </a:lnTo>
                  <a:lnTo>
                    <a:pt x="151" y="236"/>
                  </a:lnTo>
                  <a:close/>
                  <a:moveTo>
                    <a:pt x="10" y="226"/>
                  </a:moveTo>
                  <a:lnTo>
                    <a:pt x="141" y="226"/>
                  </a:lnTo>
                  <a:lnTo>
                    <a:pt x="141" y="11"/>
                  </a:lnTo>
                  <a:lnTo>
                    <a:pt x="10" y="11"/>
                  </a:lnTo>
                  <a:lnTo>
                    <a:pt x="10" y="2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Freeform 598">
              <a:extLst>
                <a:ext uri="{FF2B5EF4-FFF2-40B4-BE49-F238E27FC236}">
                  <a16:creationId xmlns:a16="http://schemas.microsoft.com/office/drawing/2014/main" id="{937935BD-4431-1E1B-4D66-BF3256846D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015788" y="5387975"/>
              <a:ext cx="330200" cy="465138"/>
            </a:xfrm>
            <a:custGeom>
              <a:avLst/>
              <a:gdLst>
                <a:gd name="T0" fmla="*/ 208 w 208"/>
                <a:gd name="T1" fmla="*/ 293 h 293"/>
                <a:gd name="T2" fmla="*/ 0 w 208"/>
                <a:gd name="T3" fmla="*/ 293 h 293"/>
                <a:gd name="T4" fmla="*/ 0 w 208"/>
                <a:gd name="T5" fmla="*/ 0 h 293"/>
                <a:gd name="T6" fmla="*/ 208 w 208"/>
                <a:gd name="T7" fmla="*/ 0 h 293"/>
                <a:gd name="T8" fmla="*/ 208 w 208"/>
                <a:gd name="T9" fmla="*/ 293 h 293"/>
                <a:gd name="T10" fmla="*/ 11 w 208"/>
                <a:gd name="T11" fmla="*/ 282 h 293"/>
                <a:gd name="T12" fmla="*/ 198 w 208"/>
                <a:gd name="T13" fmla="*/ 282 h 293"/>
                <a:gd name="T14" fmla="*/ 198 w 208"/>
                <a:gd name="T15" fmla="*/ 10 h 293"/>
                <a:gd name="T16" fmla="*/ 11 w 208"/>
                <a:gd name="T17" fmla="*/ 10 h 293"/>
                <a:gd name="T18" fmla="*/ 11 w 208"/>
                <a:gd name="T19" fmla="*/ 282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8" h="293">
                  <a:moveTo>
                    <a:pt x="208" y="293"/>
                  </a:moveTo>
                  <a:lnTo>
                    <a:pt x="0" y="293"/>
                  </a:lnTo>
                  <a:lnTo>
                    <a:pt x="0" y="0"/>
                  </a:lnTo>
                  <a:lnTo>
                    <a:pt x="208" y="0"/>
                  </a:lnTo>
                  <a:lnTo>
                    <a:pt x="208" y="293"/>
                  </a:lnTo>
                  <a:close/>
                  <a:moveTo>
                    <a:pt x="11" y="282"/>
                  </a:moveTo>
                  <a:lnTo>
                    <a:pt x="198" y="282"/>
                  </a:lnTo>
                  <a:lnTo>
                    <a:pt x="198" y="10"/>
                  </a:lnTo>
                  <a:lnTo>
                    <a:pt x="11" y="10"/>
                  </a:lnTo>
                  <a:lnTo>
                    <a:pt x="11" y="2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Freeform 599">
              <a:extLst>
                <a:ext uri="{FF2B5EF4-FFF2-40B4-BE49-F238E27FC236}">
                  <a16:creationId xmlns:a16="http://schemas.microsoft.com/office/drawing/2014/main" id="{1F9BF0A2-B396-CF61-8844-ACCAF5922D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150726" y="5702300"/>
              <a:ext cx="61913" cy="60325"/>
            </a:xfrm>
            <a:custGeom>
              <a:avLst/>
              <a:gdLst>
                <a:gd name="T0" fmla="*/ 52 w 105"/>
                <a:gd name="T1" fmla="*/ 106 h 106"/>
                <a:gd name="T2" fmla="*/ 0 w 105"/>
                <a:gd name="T3" fmla="*/ 53 h 106"/>
                <a:gd name="T4" fmla="*/ 52 w 105"/>
                <a:gd name="T5" fmla="*/ 0 h 106"/>
                <a:gd name="T6" fmla="*/ 105 w 105"/>
                <a:gd name="T7" fmla="*/ 53 h 106"/>
                <a:gd name="T8" fmla="*/ 52 w 105"/>
                <a:gd name="T9" fmla="*/ 106 h 106"/>
                <a:gd name="T10" fmla="*/ 52 w 105"/>
                <a:gd name="T11" fmla="*/ 29 h 106"/>
                <a:gd name="T12" fmla="*/ 28 w 105"/>
                <a:gd name="T13" fmla="*/ 53 h 106"/>
                <a:gd name="T14" fmla="*/ 52 w 105"/>
                <a:gd name="T15" fmla="*/ 77 h 106"/>
                <a:gd name="T16" fmla="*/ 77 w 105"/>
                <a:gd name="T17" fmla="*/ 53 h 106"/>
                <a:gd name="T18" fmla="*/ 52 w 105"/>
                <a:gd name="T19" fmla="*/ 29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5" h="106">
                  <a:moveTo>
                    <a:pt x="52" y="106"/>
                  </a:moveTo>
                  <a:cubicBezTo>
                    <a:pt x="23" y="106"/>
                    <a:pt x="0" y="82"/>
                    <a:pt x="0" y="53"/>
                  </a:cubicBezTo>
                  <a:cubicBezTo>
                    <a:pt x="0" y="24"/>
                    <a:pt x="23" y="0"/>
                    <a:pt x="52" y="0"/>
                  </a:cubicBezTo>
                  <a:cubicBezTo>
                    <a:pt x="82" y="0"/>
                    <a:pt x="105" y="24"/>
                    <a:pt x="105" y="53"/>
                  </a:cubicBezTo>
                  <a:cubicBezTo>
                    <a:pt x="105" y="82"/>
                    <a:pt x="82" y="106"/>
                    <a:pt x="52" y="106"/>
                  </a:cubicBezTo>
                  <a:close/>
                  <a:moveTo>
                    <a:pt x="52" y="29"/>
                  </a:moveTo>
                  <a:cubicBezTo>
                    <a:pt x="39" y="29"/>
                    <a:pt x="28" y="40"/>
                    <a:pt x="28" y="53"/>
                  </a:cubicBezTo>
                  <a:cubicBezTo>
                    <a:pt x="28" y="66"/>
                    <a:pt x="39" y="77"/>
                    <a:pt x="52" y="77"/>
                  </a:cubicBezTo>
                  <a:cubicBezTo>
                    <a:pt x="66" y="77"/>
                    <a:pt x="77" y="66"/>
                    <a:pt x="77" y="53"/>
                  </a:cubicBezTo>
                  <a:cubicBezTo>
                    <a:pt x="77" y="40"/>
                    <a:pt x="66" y="29"/>
                    <a:pt x="52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F4E93052-DD31-46D7-C690-3233E0DEE44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009403" y="1822816"/>
            <a:ext cx="443495" cy="550611"/>
            <a:chOff x="4818063" y="6284913"/>
            <a:chExt cx="374650" cy="465138"/>
          </a:xfrm>
          <a:solidFill>
            <a:schemeClr val="accent3"/>
          </a:solidFill>
        </p:grpSpPr>
        <p:sp>
          <p:nvSpPr>
            <p:cNvPr id="38" name="Freeform 624">
              <a:extLst>
                <a:ext uri="{FF2B5EF4-FFF2-40B4-BE49-F238E27FC236}">
                  <a16:creationId xmlns:a16="http://schemas.microsoft.com/office/drawing/2014/main" id="{E86F7B08-1A75-BDAC-F63D-36949FAA0D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62513" y="6329363"/>
              <a:ext cx="285750" cy="374650"/>
            </a:xfrm>
            <a:custGeom>
              <a:avLst/>
              <a:gdLst>
                <a:gd name="T0" fmla="*/ 465 w 490"/>
                <a:gd name="T1" fmla="*/ 644 h 644"/>
                <a:gd name="T2" fmla="*/ 26 w 490"/>
                <a:gd name="T3" fmla="*/ 644 h 644"/>
                <a:gd name="T4" fmla="*/ 0 w 490"/>
                <a:gd name="T5" fmla="*/ 619 h 644"/>
                <a:gd name="T6" fmla="*/ 0 w 490"/>
                <a:gd name="T7" fmla="*/ 26 h 644"/>
                <a:gd name="T8" fmla="*/ 26 w 490"/>
                <a:gd name="T9" fmla="*/ 0 h 644"/>
                <a:gd name="T10" fmla="*/ 465 w 490"/>
                <a:gd name="T11" fmla="*/ 0 h 644"/>
                <a:gd name="T12" fmla="*/ 490 w 490"/>
                <a:gd name="T13" fmla="*/ 26 h 644"/>
                <a:gd name="T14" fmla="*/ 490 w 490"/>
                <a:gd name="T15" fmla="*/ 619 h 644"/>
                <a:gd name="T16" fmla="*/ 465 w 490"/>
                <a:gd name="T17" fmla="*/ 644 h 644"/>
                <a:gd name="T18" fmla="*/ 29 w 490"/>
                <a:gd name="T19" fmla="*/ 616 h 644"/>
                <a:gd name="T20" fmla="*/ 462 w 490"/>
                <a:gd name="T21" fmla="*/ 616 h 644"/>
                <a:gd name="T22" fmla="*/ 462 w 490"/>
                <a:gd name="T23" fmla="*/ 29 h 644"/>
                <a:gd name="T24" fmla="*/ 29 w 490"/>
                <a:gd name="T25" fmla="*/ 29 h 644"/>
                <a:gd name="T26" fmla="*/ 29 w 490"/>
                <a:gd name="T27" fmla="*/ 616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90" h="644">
                  <a:moveTo>
                    <a:pt x="465" y="644"/>
                  </a:moveTo>
                  <a:cubicBezTo>
                    <a:pt x="26" y="644"/>
                    <a:pt x="26" y="644"/>
                    <a:pt x="26" y="644"/>
                  </a:cubicBezTo>
                  <a:cubicBezTo>
                    <a:pt x="11" y="644"/>
                    <a:pt x="0" y="633"/>
                    <a:pt x="0" y="619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2"/>
                    <a:pt x="11" y="0"/>
                    <a:pt x="26" y="0"/>
                  </a:cubicBezTo>
                  <a:cubicBezTo>
                    <a:pt x="465" y="0"/>
                    <a:pt x="465" y="0"/>
                    <a:pt x="465" y="0"/>
                  </a:cubicBezTo>
                  <a:cubicBezTo>
                    <a:pt x="479" y="0"/>
                    <a:pt x="490" y="12"/>
                    <a:pt x="490" y="26"/>
                  </a:cubicBezTo>
                  <a:cubicBezTo>
                    <a:pt x="490" y="619"/>
                    <a:pt x="490" y="619"/>
                    <a:pt x="490" y="619"/>
                  </a:cubicBezTo>
                  <a:cubicBezTo>
                    <a:pt x="490" y="633"/>
                    <a:pt x="479" y="644"/>
                    <a:pt x="465" y="644"/>
                  </a:cubicBezTo>
                  <a:close/>
                  <a:moveTo>
                    <a:pt x="29" y="616"/>
                  </a:moveTo>
                  <a:cubicBezTo>
                    <a:pt x="462" y="616"/>
                    <a:pt x="462" y="616"/>
                    <a:pt x="462" y="616"/>
                  </a:cubicBezTo>
                  <a:cubicBezTo>
                    <a:pt x="462" y="29"/>
                    <a:pt x="462" y="29"/>
                    <a:pt x="462" y="29"/>
                  </a:cubicBezTo>
                  <a:cubicBezTo>
                    <a:pt x="29" y="29"/>
                    <a:pt x="29" y="29"/>
                    <a:pt x="29" y="29"/>
                  </a:cubicBezTo>
                  <a:lnTo>
                    <a:pt x="29" y="6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Freeform 625">
              <a:extLst>
                <a:ext uri="{FF2B5EF4-FFF2-40B4-BE49-F238E27FC236}">
                  <a16:creationId xmlns:a16="http://schemas.microsoft.com/office/drawing/2014/main" id="{84CFD78A-209B-216B-97EC-847BDCD008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62513" y="6329363"/>
              <a:ext cx="285750" cy="374650"/>
            </a:xfrm>
            <a:custGeom>
              <a:avLst/>
              <a:gdLst>
                <a:gd name="T0" fmla="*/ 465 w 490"/>
                <a:gd name="T1" fmla="*/ 644 h 644"/>
                <a:gd name="T2" fmla="*/ 26 w 490"/>
                <a:gd name="T3" fmla="*/ 644 h 644"/>
                <a:gd name="T4" fmla="*/ 0 w 490"/>
                <a:gd name="T5" fmla="*/ 619 h 644"/>
                <a:gd name="T6" fmla="*/ 0 w 490"/>
                <a:gd name="T7" fmla="*/ 26 h 644"/>
                <a:gd name="T8" fmla="*/ 26 w 490"/>
                <a:gd name="T9" fmla="*/ 0 h 644"/>
                <a:gd name="T10" fmla="*/ 465 w 490"/>
                <a:gd name="T11" fmla="*/ 0 h 644"/>
                <a:gd name="T12" fmla="*/ 490 w 490"/>
                <a:gd name="T13" fmla="*/ 26 h 644"/>
                <a:gd name="T14" fmla="*/ 490 w 490"/>
                <a:gd name="T15" fmla="*/ 619 h 644"/>
                <a:gd name="T16" fmla="*/ 465 w 490"/>
                <a:gd name="T17" fmla="*/ 644 h 644"/>
                <a:gd name="T18" fmla="*/ 29 w 490"/>
                <a:gd name="T19" fmla="*/ 616 h 644"/>
                <a:gd name="T20" fmla="*/ 462 w 490"/>
                <a:gd name="T21" fmla="*/ 616 h 644"/>
                <a:gd name="T22" fmla="*/ 462 w 490"/>
                <a:gd name="T23" fmla="*/ 29 h 644"/>
                <a:gd name="T24" fmla="*/ 29 w 490"/>
                <a:gd name="T25" fmla="*/ 29 h 644"/>
                <a:gd name="T26" fmla="*/ 29 w 490"/>
                <a:gd name="T27" fmla="*/ 616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90" h="644">
                  <a:moveTo>
                    <a:pt x="465" y="644"/>
                  </a:moveTo>
                  <a:cubicBezTo>
                    <a:pt x="26" y="644"/>
                    <a:pt x="26" y="644"/>
                    <a:pt x="26" y="644"/>
                  </a:cubicBezTo>
                  <a:cubicBezTo>
                    <a:pt x="11" y="644"/>
                    <a:pt x="0" y="633"/>
                    <a:pt x="0" y="619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2"/>
                    <a:pt x="11" y="0"/>
                    <a:pt x="26" y="0"/>
                  </a:cubicBezTo>
                  <a:cubicBezTo>
                    <a:pt x="465" y="0"/>
                    <a:pt x="465" y="0"/>
                    <a:pt x="465" y="0"/>
                  </a:cubicBezTo>
                  <a:cubicBezTo>
                    <a:pt x="479" y="0"/>
                    <a:pt x="490" y="12"/>
                    <a:pt x="490" y="26"/>
                  </a:cubicBezTo>
                  <a:cubicBezTo>
                    <a:pt x="490" y="619"/>
                    <a:pt x="490" y="619"/>
                    <a:pt x="490" y="619"/>
                  </a:cubicBezTo>
                  <a:cubicBezTo>
                    <a:pt x="490" y="633"/>
                    <a:pt x="479" y="644"/>
                    <a:pt x="465" y="644"/>
                  </a:cubicBezTo>
                  <a:close/>
                  <a:moveTo>
                    <a:pt x="29" y="616"/>
                  </a:moveTo>
                  <a:cubicBezTo>
                    <a:pt x="462" y="616"/>
                    <a:pt x="462" y="616"/>
                    <a:pt x="462" y="616"/>
                  </a:cubicBezTo>
                  <a:cubicBezTo>
                    <a:pt x="462" y="29"/>
                    <a:pt x="462" y="29"/>
                    <a:pt x="462" y="29"/>
                  </a:cubicBezTo>
                  <a:cubicBezTo>
                    <a:pt x="29" y="29"/>
                    <a:pt x="29" y="29"/>
                    <a:pt x="29" y="29"/>
                  </a:cubicBezTo>
                  <a:lnTo>
                    <a:pt x="29" y="6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Freeform 626">
              <a:extLst>
                <a:ext uri="{FF2B5EF4-FFF2-40B4-BE49-F238E27FC236}">
                  <a16:creationId xmlns:a16="http://schemas.microsoft.com/office/drawing/2014/main" id="{444AAFAA-C369-F6B1-8340-67B460601B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18063" y="6284913"/>
              <a:ext cx="374650" cy="465138"/>
            </a:xfrm>
            <a:custGeom>
              <a:avLst/>
              <a:gdLst>
                <a:gd name="T0" fmla="*/ 547 w 644"/>
                <a:gd name="T1" fmla="*/ 798 h 798"/>
                <a:gd name="T2" fmla="*/ 97 w 644"/>
                <a:gd name="T3" fmla="*/ 798 h 798"/>
                <a:gd name="T4" fmla="*/ 0 w 644"/>
                <a:gd name="T5" fmla="*/ 701 h 798"/>
                <a:gd name="T6" fmla="*/ 0 w 644"/>
                <a:gd name="T7" fmla="*/ 97 h 798"/>
                <a:gd name="T8" fmla="*/ 97 w 644"/>
                <a:gd name="T9" fmla="*/ 0 h 798"/>
                <a:gd name="T10" fmla="*/ 547 w 644"/>
                <a:gd name="T11" fmla="*/ 0 h 798"/>
                <a:gd name="T12" fmla="*/ 644 w 644"/>
                <a:gd name="T13" fmla="*/ 97 h 798"/>
                <a:gd name="T14" fmla="*/ 644 w 644"/>
                <a:gd name="T15" fmla="*/ 701 h 798"/>
                <a:gd name="T16" fmla="*/ 547 w 644"/>
                <a:gd name="T17" fmla="*/ 798 h 798"/>
                <a:gd name="T18" fmla="*/ 97 w 644"/>
                <a:gd name="T19" fmla="*/ 29 h 798"/>
                <a:gd name="T20" fmla="*/ 29 w 644"/>
                <a:gd name="T21" fmla="*/ 97 h 798"/>
                <a:gd name="T22" fmla="*/ 29 w 644"/>
                <a:gd name="T23" fmla="*/ 701 h 798"/>
                <a:gd name="T24" fmla="*/ 97 w 644"/>
                <a:gd name="T25" fmla="*/ 770 h 798"/>
                <a:gd name="T26" fmla="*/ 547 w 644"/>
                <a:gd name="T27" fmla="*/ 770 h 798"/>
                <a:gd name="T28" fmla="*/ 616 w 644"/>
                <a:gd name="T29" fmla="*/ 701 h 798"/>
                <a:gd name="T30" fmla="*/ 616 w 644"/>
                <a:gd name="T31" fmla="*/ 97 h 798"/>
                <a:gd name="T32" fmla="*/ 547 w 644"/>
                <a:gd name="T33" fmla="*/ 29 h 798"/>
                <a:gd name="T34" fmla="*/ 97 w 644"/>
                <a:gd name="T35" fmla="*/ 29 h 7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44" h="798">
                  <a:moveTo>
                    <a:pt x="547" y="798"/>
                  </a:moveTo>
                  <a:cubicBezTo>
                    <a:pt x="97" y="798"/>
                    <a:pt x="97" y="798"/>
                    <a:pt x="97" y="798"/>
                  </a:cubicBezTo>
                  <a:cubicBezTo>
                    <a:pt x="44" y="798"/>
                    <a:pt x="0" y="755"/>
                    <a:pt x="0" y="701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44"/>
                    <a:pt x="44" y="0"/>
                    <a:pt x="97" y="0"/>
                  </a:cubicBezTo>
                  <a:cubicBezTo>
                    <a:pt x="547" y="0"/>
                    <a:pt x="547" y="0"/>
                    <a:pt x="547" y="0"/>
                  </a:cubicBezTo>
                  <a:cubicBezTo>
                    <a:pt x="601" y="0"/>
                    <a:pt x="644" y="44"/>
                    <a:pt x="644" y="97"/>
                  </a:cubicBezTo>
                  <a:cubicBezTo>
                    <a:pt x="644" y="701"/>
                    <a:pt x="644" y="701"/>
                    <a:pt x="644" y="701"/>
                  </a:cubicBezTo>
                  <a:cubicBezTo>
                    <a:pt x="644" y="755"/>
                    <a:pt x="601" y="798"/>
                    <a:pt x="547" y="798"/>
                  </a:cubicBezTo>
                  <a:close/>
                  <a:moveTo>
                    <a:pt x="97" y="29"/>
                  </a:moveTo>
                  <a:cubicBezTo>
                    <a:pt x="60" y="29"/>
                    <a:pt x="29" y="60"/>
                    <a:pt x="29" y="97"/>
                  </a:cubicBezTo>
                  <a:cubicBezTo>
                    <a:pt x="29" y="701"/>
                    <a:pt x="29" y="701"/>
                    <a:pt x="29" y="701"/>
                  </a:cubicBezTo>
                  <a:cubicBezTo>
                    <a:pt x="29" y="739"/>
                    <a:pt x="60" y="770"/>
                    <a:pt x="97" y="770"/>
                  </a:cubicBezTo>
                  <a:cubicBezTo>
                    <a:pt x="547" y="770"/>
                    <a:pt x="547" y="770"/>
                    <a:pt x="547" y="770"/>
                  </a:cubicBezTo>
                  <a:cubicBezTo>
                    <a:pt x="585" y="770"/>
                    <a:pt x="616" y="739"/>
                    <a:pt x="616" y="701"/>
                  </a:cubicBezTo>
                  <a:cubicBezTo>
                    <a:pt x="616" y="97"/>
                    <a:pt x="616" y="97"/>
                    <a:pt x="616" y="97"/>
                  </a:cubicBezTo>
                  <a:cubicBezTo>
                    <a:pt x="616" y="60"/>
                    <a:pt x="585" y="29"/>
                    <a:pt x="547" y="29"/>
                  </a:cubicBezTo>
                  <a:lnTo>
                    <a:pt x="97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Freeform 627">
              <a:extLst>
                <a:ext uri="{FF2B5EF4-FFF2-40B4-BE49-F238E27FC236}">
                  <a16:creationId xmlns:a16="http://schemas.microsoft.com/office/drawing/2014/main" id="{751380EE-FFB8-A9E5-5BFD-34CDF97618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62513" y="6329363"/>
              <a:ext cx="285750" cy="374650"/>
            </a:xfrm>
            <a:custGeom>
              <a:avLst/>
              <a:gdLst>
                <a:gd name="T0" fmla="*/ 465 w 490"/>
                <a:gd name="T1" fmla="*/ 644 h 644"/>
                <a:gd name="T2" fmla="*/ 26 w 490"/>
                <a:gd name="T3" fmla="*/ 644 h 644"/>
                <a:gd name="T4" fmla="*/ 0 w 490"/>
                <a:gd name="T5" fmla="*/ 619 h 644"/>
                <a:gd name="T6" fmla="*/ 0 w 490"/>
                <a:gd name="T7" fmla="*/ 26 h 644"/>
                <a:gd name="T8" fmla="*/ 26 w 490"/>
                <a:gd name="T9" fmla="*/ 0 h 644"/>
                <a:gd name="T10" fmla="*/ 465 w 490"/>
                <a:gd name="T11" fmla="*/ 0 h 644"/>
                <a:gd name="T12" fmla="*/ 490 w 490"/>
                <a:gd name="T13" fmla="*/ 26 h 644"/>
                <a:gd name="T14" fmla="*/ 490 w 490"/>
                <a:gd name="T15" fmla="*/ 619 h 644"/>
                <a:gd name="T16" fmla="*/ 465 w 490"/>
                <a:gd name="T17" fmla="*/ 644 h 644"/>
                <a:gd name="T18" fmla="*/ 29 w 490"/>
                <a:gd name="T19" fmla="*/ 616 h 644"/>
                <a:gd name="T20" fmla="*/ 462 w 490"/>
                <a:gd name="T21" fmla="*/ 616 h 644"/>
                <a:gd name="T22" fmla="*/ 462 w 490"/>
                <a:gd name="T23" fmla="*/ 29 h 644"/>
                <a:gd name="T24" fmla="*/ 29 w 490"/>
                <a:gd name="T25" fmla="*/ 29 h 644"/>
                <a:gd name="T26" fmla="*/ 29 w 490"/>
                <a:gd name="T27" fmla="*/ 616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90" h="644">
                  <a:moveTo>
                    <a:pt x="465" y="644"/>
                  </a:moveTo>
                  <a:cubicBezTo>
                    <a:pt x="26" y="644"/>
                    <a:pt x="26" y="644"/>
                    <a:pt x="26" y="644"/>
                  </a:cubicBezTo>
                  <a:cubicBezTo>
                    <a:pt x="11" y="644"/>
                    <a:pt x="0" y="633"/>
                    <a:pt x="0" y="619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2"/>
                    <a:pt x="11" y="0"/>
                    <a:pt x="26" y="0"/>
                  </a:cubicBezTo>
                  <a:cubicBezTo>
                    <a:pt x="465" y="0"/>
                    <a:pt x="465" y="0"/>
                    <a:pt x="465" y="0"/>
                  </a:cubicBezTo>
                  <a:cubicBezTo>
                    <a:pt x="479" y="0"/>
                    <a:pt x="490" y="12"/>
                    <a:pt x="490" y="26"/>
                  </a:cubicBezTo>
                  <a:cubicBezTo>
                    <a:pt x="490" y="619"/>
                    <a:pt x="490" y="619"/>
                    <a:pt x="490" y="619"/>
                  </a:cubicBezTo>
                  <a:cubicBezTo>
                    <a:pt x="490" y="633"/>
                    <a:pt x="479" y="644"/>
                    <a:pt x="465" y="644"/>
                  </a:cubicBezTo>
                  <a:close/>
                  <a:moveTo>
                    <a:pt x="29" y="616"/>
                  </a:moveTo>
                  <a:cubicBezTo>
                    <a:pt x="462" y="616"/>
                    <a:pt x="462" y="616"/>
                    <a:pt x="462" y="616"/>
                  </a:cubicBezTo>
                  <a:cubicBezTo>
                    <a:pt x="462" y="29"/>
                    <a:pt x="462" y="29"/>
                    <a:pt x="462" y="29"/>
                  </a:cubicBezTo>
                  <a:cubicBezTo>
                    <a:pt x="29" y="29"/>
                    <a:pt x="29" y="29"/>
                    <a:pt x="29" y="29"/>
                  </a:cubicBezTo>
                  <a:lnTo>
                    <a:pt x="29" y="6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Freeform 628">
              <a:extLst>
                <a:ext uri="{FF2B5EF4-FFF2-40B4-BE49-F238E27FC236}">
                  <a16:creationId xmlns:a16="http://schemas.microsoft.com/office/drawing/2014/main" id="{EAD4A6DE-F9E9-E40E-1599-D2E7257E56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18063" y="6284913"/>
              <a:ext cx="374650" cy="465138"/>
            </a:xfrm>
            <a:custGeom>
              <a:avLst/>
              <a:gdLst>
                <a:gd name="T0" fmla="*/ 547 w 644"/>
                <a:gd name="T1" fmla="*/ 798 h 798"/>
                <a:gd name="T2" fmla="*/ 97 w 644"/>
                <a:gd name="T3" fmla="*/ 798 h 798"/>
                <a:gd name="T4" fmla="*/ 0 w 644"/>
                <a:gd name="T5" fmla="*/ 701 h 798"/>
                <a:gd name="T6" fmla="*/ 0 w 644"/>
                <a:gd name="T7" fmla="*/ 97 h 798"/>
                <a:gd name="T8" fmla="*/ 97 w 644"/>
                <a:gd name="T9" fmla="*/ 0 h 798"/>
                <a:gd name="T10" fmla="*/ 547 w 644"/>
                <a:gd name="T11" fmla="*/ 0 h 798"/>
                <a:gd name="T12" fmla="*/ 644 w 644"/>
                <a:gd name="T13" fmla="*/ 97 h 798"/>
                <a:gd name="T14" fmla="*/ 644 w 644"/>
                <a:gd name="T15" fmla="*/ 701 h 798"/>
                <a:gd name="T16" fmla="*/ 547 w 644"/>
                <a:gd name="T17" fmla="*/ 798 h 798"/>
                <a:gd name="T18" fmla="*/ 97 w 644"/>
                <a:gd name="T19" fmla="*/ 29 h 798"/>
                <a:gd name="T20" fmla="*/ 29 w 644"/>
                <a:gd name="T21" fmla="*/ 97 h 798"/>
                <a:gd name="T22" fmla="*/ 29 w 644"/>
                <a:gd name="T23" fmla="*/ 701 h 798"/>
                <a:gd name="T24" fmla="*/ 97 w 644"/>
                <a:gd name="T25" fmla="*/ 770 h 798"/>
                <a:gd name="T26" fmla="*/ 547 w 644"/>
                <a:gd name="T27" fmla="*/ 770 h 798"/>
                <a:gd name="T28" fmla="*/ 616 w 644"/>
                <a:gd name="T29" fmla="*/ 701 h 798"/>
                <a:gd name="T30" fmla="*/ 616 w 644"/>
                <a:gd name="T31" fmla="*/ 97 h 798"/>
                <a:gd name="T32" fmla="*/ 547 w 644"/>
                <a:gd name="T33" fmla="*/ 29 h 798"/>
                <a:gd name="T34" fmla="*/ 97 w 644"/>
                <a:gd name="T35" fmla="*/ 29 h 7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44" h="798">
                  <a:moveTo>
                    <a:pt x="547" y="798"/>
                  </a:moveTo>
                  <a:cubicBezTo>
                    <a:pt x="97" y="798"/>
                    <a:pt x="97" y="798"/>
                    <a:pt x="97" y="798"/>
                  </a:cubicBezTo>
                  <a:cubicBezTo>
                    <a:pt x="44" y="798"/>
                    <a:pt x="0" y="755"/>
                    <a:pt x="0" y="701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44"/>
                    <a:pt x="44" y="0"/>
                    <a:pt x="97" y="0"/>
                  </a:cubicBezTo>
                  <a:cubicBezTo>
                    <a:pt x="547" y="0"/>
                    <a:pt x="547" y="0"/>
                    <a:pt x="547" y="0"/>
                  </a:cubicBezTo>
                  <a:cubicBezTo>
                    <a:pt x="601" y="0"/>
                    <a:pt x="644" y="44"/>
                    <a:pt x="644" y="97"/>
                  </a:cubicBezTo>
                  <a:cubicBezTo>
                    <a:pt x="644" y="701"/>
                    <a:pt x="644" y="701"/>
                    <a:pt x="644" y="701"/>
                  </a:cubicBezTo>
                  <a:cubicBezTo>
                    <a:pt x="644" y="755"/>
                    <a:pt x="601" y="798"/>
                    <a:pt x="547" y="798"/>
                  </a:cubicBezTo>
                  <a:close/>
                  <a:moveTo>
                    <a:pt x="97" y="29"/>
                  </a:moveTo>
                  <a:cubicBezTo>
                    <a:pt x="60" y="29"/>
                    <a:pt x="29" y="60"/>
                    <a:pt x="29" y="97"/>
                  </a:cubicBezTo>
                  <a:cubicBezTo>
                    <a:pt x="29" y="701"/>
                    <a:pt x="29" y="701"/>
                    <a:pt x="29" y="701"/>
                  </a:cubicBezTo>
                  <a:cubicBezTo>
                    <a:pt x="29" y="739"/>
                    <a:pt x="60" y="770"/>
                    <a:pt x="97" y="770"/>
                  </a:cubicBezTo>
                  <a:cubicBezTo>
                    <a:pt x="547" y="770"/>
                    <a:pt x="547" y="770"/>
                    <a:pt x="547" y="770"/>
                  </a:cubicBezTo>
                  <a:cubicBezTo>
                    <a:pt x="585" y="770"/>
                    <a:pt x="616" y="739"/>
                    <a:pt x="616" y="701"/>
                  </a:cubicBezTo>
                  <a:cubicBezTo>
                    <a:pt x="616" y="97"/>
                    <a:pt x="616" y="97"/>
                    <a:pt x="616" y="97"/>
                  </a:cubicBezTo>
                  <a:cubicBezTo>
                    <a:pt x="616" y="60"/>
                    <a:pt x="585" y="29"/>
                    <a:pt x="547" y="29"/>
                  </a:cubicBezTo>
                  <a:lnTo>
                    <a:pt x="97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Freeform 629">
              <a:extLst>
                <a:ext uri="{FF2B5EF4-FFF2-40B4-BE49-F238E27FC236}">
                  <a16:creationId xmlns:a16="http://schemas.microsoft.com/office/drawing/2014/main" id="{0767B629-EEDF-668F-C036-BF4E60171D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62513" y="6329363"/>
              <a:ext cx="285750" cy="374650"/>
            </a:xfrm>
            <a:custGeom>
              <a:avLst/>
              <a:gdLst>
                <a:gd name="T0" fmla="*/ 465 w 490"/>
                <a:gd name="T1" fmla="*/ 644 h 644"/>
                <a:gd name="T2" fmla="*/ 26 w 490"/>
                <a:gd name="T3" fmla="*/ 644 h 644"/>
                <a:gd name="T4" fmla="*/ 0 w 490"/>
                <a:gd name="T5" fmla="*/ 619 h 644"/>
                <a:gd name="T6" fmla="*/ 0 w 490"/>
                <a:gd name="T7" fmla="*/ 26 h 644"/>
                <a:gd name="T8" fmla="*/ 26 w 490"/>
                <a:gd name="T9" fmla="*/ 0 h 644"/>
                <a:gd name="T10" fmla="*/ 465 w 490"/>
                <a:gd name="T11" fmla="*/ 0 h 644"/>
                <a:gd name="T12" fmla="*/ 490 w 490"/>
                <a:gd name="T13" fmla="*/ 26 h 644"/>
                <a:gd name="T14" fmla="*/ 490 w 490"/>
                <a:gd name="T15" fmla="*/ 619 h 644"/>
                <a:gd name="T16" fmla="*/ 465 w 490"/>
                <a:gd name="T17" fmla="*/ 644 h 644"/>
                <a:gd name="T18" fmla="*/ 29 w 490"/>
                <a:gd name="T19" fmla="*/ 616 h 644"/>
                <a:gd name="T20" fmla="*/ 462 w 490"/>
                <a:gd name="T21" fmla="*/ 616 h 644"/>
                <a:gd name="T22" fmla="*/ 462 w 490"/>
                <a:gd name="T23" fmla="*/ 29 h 644"/>
                <a:gd name="T24" fmla="*/ 29 w 490"/>
                <a:gd name="T25" fmla="*/ 29 h 644"/>
                <a:gd name="T26" fmla="*/ 29 w 490"/>
                <a:gd name="T27" fmla="*/ 616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90" h="644">
                  <a:moveTo>
                    <a:pt x="465" y="644"/>
                  </a:moveTo>
                  <a:cubicBezTo>
                    <a:pt x="26" y="644"/>
                    <a:pt x="26" y="644"/>
                    <a:pt x="26" y="644"/>
                  </a:cubicBezTo>
                  <a:cubicBezTo>
                    <a:pt x="11" y="644"/>
                    <a:pt x="0" y="633"/>
                    <a:pt x="0" y="619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2"/>
                    <a:pt x="11" y="0"/>
                    <a:pt x="26" y="0"/>
                  </a:cubicBezTo>
                  <a:cubicBezTo>
                    <a:pt x="465" y="0"/>
                    <a:pt x="465" y="0"/>
                    <a:pt x="465" y="0"/>
                  </a:cubicBezTo>
                  <a:cubicBezTo>
                    <a:pt x="479" y="0"/>
                    <a:pt x="490" y="12"/>
                    <a:pt x="490" y="26"/>
                  </a:cubicBezTo>
                  <a:cubicBezTo>
                    <a:pt x="490" y="619"/>
                    <a:pt x="490" y="619"/>
                    <a:pt x="490" y="619"/>
                  </a:cubicBezTo>
                  <a:cubicBezTo>
                    <a:pt x="490" y="633"/>
                    <a:pt x="479" y="644"/>
                    <a:pt x="465" y="644"/>
                  </a:cubicBezTo>
                  <a:close/>
                  <a:moveTo>
                    <a:pt x="29" y="616"/>
                  </a:moveTo>
                  <a:cubicBezTo>
                    <a:pt x="462" y="616"/>
                    <a:pt x="462" y="616"/>
                    <a:pt x="462" y="616"/>
                  </a:cubicBezTo>
                  <a:cubicBezTo>
                    <a:pt x="462" y="29"/>
                    <a:pt x="462" y="29"/>
                    <a:pt x="462" y="29"/>
                  </a:cubicBezTo>
                  <a:cubicBezTo>
                    <a:pt x="29" y="29"/>
                    <a:pt x="29" y="29"/>
                    <a:pt x="29" y="29"/>
                  </a:cubicBezTo>
                  <a:lnTo>
                    <a:pt x="29" y="6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Freeform 630">
              <a:extLst>
                <a:ext uri="{FF2B5EF4-FFF2-40B4-BE49-F238E27FC236}">
                  <a16:creationId xmlns:a16="http://schemas.microsoft.com/office/drawing/2014/main" id="{0F07508E-3DB7-0CB2-FAA2-5A6A9381EE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41888" y="6411913"/>
              <a:ext cx="127000" cy="206375"/>
            </a:xfrm>
            <a:custGeom>
              <a:avLst/>
              <a:gdLst>
                <a:gd name="T0" fmla="*/ 20 w 80"/>
                <a:gd name="T1" fmla="*/ 130 h 130"/>
                <a:gd name="T2" fmla="*/ 18 w 80"/>
                <a:gd name="T3" fmla="*/ 88 h 130"/>
                <a:gd name="T4" fmla="*/ 0 w 80"/>
                <a:gd name="T5" fmla="*/ 78 h 130"/>
                <a:gd name="T6" fmla="*/ 61 w 80"/>
                <a:gd name="T7" fmla="*/ 0 h 130"/>
                <a:gd name="T8" fmla="*/ 61 w 80"/>
                <a:gd name="T9" fmla="*/ 48 h 130"/>
                <a:gd name="T10" fmla="*/ 80 w 80"/>
                <a:gd name="T11" fmla="*/ 58 h 130"/>
                <a:gd name="T12" fmla="*/ 20 w 80"/>
                <a:gd name="T13" fmla="*/ 130 h 130"/>
                <a:gd name="T14" fmla="*/ 16 w 80"/>
                <a:gd name="T15" fmla="*/ 75 h 130"/>
                <a:gd name="T16" fmla="*/ 29 w 80"/>
                <a:gd name="T17" fmla="*/ 82 h 130"/>
                <a:gd name="T18" fmla="*/ 30 w 80"/>
                <a:gd name="T19" fmla="*/ 102 h 130"/>
                <a:gd name="T20" fmla="*/ 63 w 80"/>
                <a:gd name="T21" fmla="*/ 61 h 130"/>
                <a:gd name="T22" fmla="*/ 50 w 80"/>
                <a:gd name="T23" fmla="*/ 54 h 130"/>
                <a:gd name="T24" fmla="*/ 50 w 80"/>
                <a:gd name="T25" fmla="*/ 31 h 130"/>
                <a:gd name="T26" fmla="*/ 16 w 80"/>
                <a:gd name="T27" fmla="*/ 75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0" h="130">
                  <a:moveTo>
                    <a:pt x="20" y="130"/>
                  </a:moveTo>
                  <a:lnTo>
                    <a:pt x="18" y="88"/>
                  </a:lnTo>
                  <a:lnTo>
                    <a:pt x="0" y="78"/>
                  </a:lnTo>
                  <a:lnTo>
                    <a:pt x="61" y="0"/>
                  </a:lnTo>
                  <a:lnTo>
                    <a:pt x="61" y="48"/>
                  </a:lnTo>
                  <a:lnTo>
                    <a:pt x="80" y="58"/>
                  </a:lnTo>
                  <a:lnTo>
                    <a:pt x="20" y="130"/>
                  </a:lnTo>
                  <a:close/>
                  <a:moveTo>
                    <a:pt x="16" y="75"/>
                  </a:moveTo>
                  <a:lnTo>
                    <a:pt x="29" y="82"/>
                  </a:lnTo>
                  <a:lnTo>
                    <a:pt x="30" y="102"/>
                  </a:lnTo>
                  <a:lnTo>
                    <a:pt x="63" y="61"/>
                  </a:lnTo>
                  <a:lnTo>
                    <a:pt x="50" y="54"/>
                  </a:lnTo>
                  <a:lnTo>
                    <a:pt x="50" y="31"/>
                  </a:lnTo>
                  <a:lnTo>
                    <a:pt x="16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66" name="Text Placeholder 62">
            <a:extLst>
              <a:ext uri="{FF2B5EF4-FFF2-40B4-BE49-F238E27FC236}">
                <a16:creationId xmlns:a16="http://schemas.microsoft.com/office/drawing/2014/main" id="{E6CB1444-C032-1E8D-A020-A6757E2DB32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924471" y="2805824"/>
            <a:ext cx="3493239" cy="6125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68" name="Title 3">
            <a:extLst>
              <a:ext uri="{FF2B5EF4-FFF2-40B4-BE49-F238E27FC236}">
                <a16:creationId xmlns:a16="http://schemas.microsoft.com/office/drawing/2014/main" id="{E41E7F2B-85F3-D809-8641-C7CF51B098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53" y="399899"/>
            <a:ext cx="11400896" cy="864810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9239699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come slide_alt layout_3 item_edi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B41FB7E-8461-F4C9-DA82-D49119A5FA7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81000" y="1820334"/>
            <a:ext cx="612511" cy="6125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33"/>
            </a:lvl1pPr>
          </a:lstStyle>
          <a:p>
            <a:endParaRPr lang="en-GB"/>
          </a:p>
        </p:txBody>
      </p:sp>
      <p:sp>
        <p:nvSpPr>
          <p:cNvPr id="64" name="Text Placeholder 62">
            <a:extLst>
              <a:ext uri="{FF2B5EF4-FFF2-40B4-BE49-F238E27FC236}">
                <a16:creationId xmlns:a16="http://schemas.microsoft.com/office/drawing/2014/main" id="{AB7A5318-3874-9211-9303-A68036C6C3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63695" y="2816490"/>
            <a:ext cx="3493239" cy="6125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63" name="Text Placeholder 62">
            <a:extLst>
              <a:ext uri="{FF2B5EF4-FFF2-40B4-BE49-F238E27FC236}">
                <a16:creationId xmlns:a16="http://schemas.microsoft.com/office/drawing/2014/main" id="{07984E74-E81B-850F-6F98-3E2EFD7983D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471" y="2805824"/>
            <a:ext cx="3493239" cy="6125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C22945E8-CD43-F74A-591A-E943995A747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920357" y="3541430"/>
            <a:ext cx="3497353" cy="2849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/>
            </a:lvl1pPr>
          </a:lstStyle>
          <a:p>
            <a:pPr lvl="0"/>
            <a:endParaRPr lang="en-GB"/>
          </a:p>
        </p:txBody>
      </p:sp>
      <p:sp>
        <p:nvSpPr>
          <p:cNvPr id="51" name="Text Placeholder 50">
            <a:extLst>
              <a:ext uri="{FF2B5EF4-FFF2-40B4-BE49-F238E27FC236}">
                <a16:creationId xmlns:a16="http://schemas.microsoft.com/office/drawing/2014/main" id="{A617C1B9-05D0-8B24-9AF3-BB8FEE6E1C8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59704" y="3541430"/>
            <a:ext cx="3497353" cy="2849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/>
            </a:lvl1pPr>
          </a:lstStyle>
          <a:p>
            <a:pPr lvl="0"/>
            <a:endParaRPr lang="en-GB"/>
          </a:p>
        </p:txBody>
      </p:sp>
      <p:sp>
        <p:nvSpPr>
          <p:cNvPr id="48" name="Text Placeholder 47">
            <a:extLst>
              <a:ext uri="{FF2B5EF4-FFF2-40B4-BE49-F238E27FC236}">
                <a16:creationId xmlns:a16="http://schemas.microsoft.com/office/drawing/2014/main" id="{12513FF7-4826-328B-DF42-0F53D70FAD5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2907" y="3541449"/>
            <a:ext cx="3497353" cy="2849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/>
            </a:lvl1pPr>
          </a:lstStyle>
          <a:p>
            <a:pPr lvl="0"/>
            <a:endParaRPr lang="en-GB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B89995A-D65B-F2AA-353B-15AB066FB5BB}"/>
              </a:ext>
            </a:extLst>
          </p:cNvPr>
          <p:cNvGrpSpPr/>
          <p:nvPr userDrawn="1"/>
        </p:nvGrpSpPr>
        <p:grpSpPr>
          <a:xfrm>
            <a:off x="395552" y="2532728"/>
            <a:ext cx="11400896" cy="150000"/>
            <a:chOff x="474662" y="2826997"/>
            <a:chExt cx="8258400" cy="18000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3D148339-3F11-C7E4-96F9-919E00258F2C}"/>
                </a:ext>
              </a:extLst>
            </p:cNvPr>
            <p:cNvSpPr/>
            <p:nvPr/>
          </p:nvSpPr>
          <p:spPr>
            <a:xfrm>
              <a:off x="474662" y="2826997"/>
              <a:ext cx="2772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5C596B5D-A1A6-2EF5-511B-E4E3F70A7FFF}"/>
                </a:ext>
              </a:extLst>
            </p:cNvPr>
            <p:cNvSpPr/>
            <p:nvPr/>
          </p:nvSpPr>
          <p:spPr>
            <a:xfrm>
              <a:off x="3217863" y="2826997"/>
              <a:ext cx="2772000" cy="18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6AC18E67-BFEE-DC2C-BD72-950792F1E350}"/>
                </a:ext>
              </a:extLst>
            </p:cNvPr>
            <p:cNvSpPr/>
            <p:nvPr/>
          </p:nvSpPr>
          <p:spPr>
            <a:xfrm>
              <a:off x="5961062" y="2826997"/>
              <a:ext cx="27720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66" name="Text Placeholder 62">
            <a:extLst>
              <a:ext uri="{FF2B5EF4-FFF2-40B4-BE49-F238E27FC236}">
                <a16:creationId xmlns:a16="http://schemas.microsoft.com/office/drawing/2014/main" id="{E6CB1444-C032-1E8D-A020-A6757E2DB32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924471" y="2805824"/>
            <a:ext cx="3493239" cy="6125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68" name="Title 3">
            <a:extLst>
              <a:ext uri="{FF2B5EF4-FFF2-40B4-BE49-F238E27FC236}">
                <a16:creationId xmlns:a16="http://schemas.microsoft.com/office/drawing/2014/main" id="{E41E7F2B-85F3-D809-8641-C7CF51B098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53" y="399899"/>
            <a:ext cx="11400896" cy="864810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66AB4B9C-0EEB-E204-8439-4136F79E6A6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182599" y="1820334"/>
            <a:ext cx="612511" cy="6125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33"/>
            </a:lvl1pPr>
          </a:lstStyle>
          <a:p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6B105262-550E-EB75-1E0B-40AE3F7DF67E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969643" y="1820334"/>
            <a:ext cx="612511" cy="6125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33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551975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come slide_alt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134BBE9-B421-0F4C-E9BD-B5834B29233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568282" y="0"/>
            <a:ext cx="5623718" cy="6858000"/>
          </a:xfrm>
          <a:prstGeom prst="rect">
            <a:avLst/>
          </a:prstGeom>
        </p:spPr>
        <p:txBody>
          <a:bodyPr/>
          <a:lstStyle/>
          <a:p>
            <a:pPr lvl="0"/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EFB6ED4-B753-6C40-C3E0-E172ECE3DC8B}"/>
              </a:ext>
            </a:extLst>
          </p:cNvPr>
          <p:cNvCxnSpPr>
            <a:cxnSpLocks/>
          </p:cNvCxnSpPr>
          <p:nvPr userDrawn="1"/>
        </p:nvCxnSpPr>
        <p:spPr>
          <a:xfrm>
            <a:off x="435513" y="3199345"/>
            <a:ext cx="2260063" cy="0"/>
          </a:xfrm>
          <a:prstGeom prst="line">
            <a:avLst/>
          </a:prstGeom>
          <a:ln w="12700" cap="flat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E6A0A6C-E4AA-1DB8-BF79-0E4B4B5B242D}"/>
              </a:ext>
            </a:extLst>
          </p:cNvPr>
          <p:cNvCxnSpPr>
            <a:cxnSpLocks/>
          </p:cNvCxnSpPr>
          <p:nvPr userDrawn="1"/>
        </p:nvCxnSpPr>
        <p:spPr>
          <a:xfrm>
            <a:off x="3164792" y="3199345"/>
            <a:ext cx="2260063" cy="0"/>
          </a:xfrm>
          <a:prstGeom prst="line">
            <a:avLst/>
          </a:prstGeom>
          <a:ln w="12700" cap="flat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F4621102-904E-C833-E10F-24FA6A054588}"/>
              </a:ext>
            </a:extLst>
          </p:cNvPr>
          <p:cNvCxnSpPr>
            <a:cxnSpLocks/>
          </p:cNvCxnSpPr>
          <p:nvPr userDrawn="1"/>
        </p:nvCxnSpPr>
        <p:spPr>
          <a:xfrm>
            <a:off x="435513" y="5037670"/>
            <a:ext cx="2260063" cy="0"/>
          </a:xfrm>
          <a:prstGeom prst="line">
            <a:avLst/>
          </a:prstGeom>
          <a:ln w="12700" cap="flat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6AB93796-51F0-9F6A-2C0F-92C36FF4EF7B}"/>
              </a:ext>
            </a:extLst>
          </p:cNvPr>
          <p:cNvCxnSpPr>
            <a:cxnSpLocks/>
          </p:cNvCxnSpPr>
          <p:nvPr userDrawn="1"/>
        </p:nvCxnSpPr>
        <p:spPr>
          <a:xfrm>
            <a:off x="3193367" y="5037670"/>
            <a:ext cx="2260063" cy="0"/>
          </a:xfrm>
          <a:prstGeom prst="line">
            <a:avLst/>
          </a:prstGeom>
          <a:ln w="12700" cap="flat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50" name="Title 26">
            <a:extLst>
              <a:ext uri="{FF2B5EF4-FFF2-40B4-BE49-F238E27FC236}">
                <a16:creationId xmlns:a16="http://schemas.microsoft.com/office/drawing/2014/main" id="{5E97AC5C-9A1E-41B2-1E26-601460F1AB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6588" y="399899"/>
            <a:ext cx="5861813" cy="864810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52" name="Text Placeholder 27">
            <a:extLst>
              <a:ext uri="{FF2B5EF4-FFF2-40B4-BE49-F238E27FC236}">
                <a16:creationId xmlns:a16="http://schemas.microsoft.com/office/drawing/2014/main" id="{09319CD9-26E0-B871-46CB-24F505CA551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9608" y="1273674"/>
            <a:ext cx="5870010" cy="360948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A074F5B4-7A97-AAA9-833E-163DF118A2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9995" y="3350928"/>
            <a:ext cx="2448402" cy="89826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/>
            </a:lvl1pPr>
          </a:lstStyle>
          <a:p>
            <a:pPr lvl="0"/>
            <a:endParaRPr lang="en-GB"/>
          </a:p>
        </p:txBody>
      </p:sp>
      <p:sp>
        <p:nvSpPr>
          <p:cNvPr id="70" name="Text Placeholder 68">
            <a:extLst>
              <a:ext uri="{FF2B5EF4-FFF2-40B4-BE49-F238E27FC236}">
                <a16:creationId xmlns:a16="http://schemas.microsoft.com/office/drawing/2014/main" id="{55BE481E-6539-C2A5-6B45-0BA1197DB9B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120895" y="3350928"/>
            <a:ext cx="2448402" cy="89826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/>
            </a:lvl1pPr>
          </a:lstStyle>
          <a:p>
            <a:pPr lvl="0"/>
            <a:endParaRPr lang="en-GB"/>
          </a:p>
        </p:txBody>
      </p:sp>
      <p:sp>
        <p:nvSpPr>
          <p:cNvPr id="71" name="Text Placeholder 68">
            <a:extLst>
              <a:ext uri="{FF2B5EF4-FFF2-40B4-BE49-F238E27FC236}">
                <a16:creationId xmlns:a16="http://schemas.microsoft.com/office/drawing/2014/main" id="{9562E03A-497B-752C-A0A2-27671337880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1342" y="5210598"/>
            <a:ext cx="2448402" cy="89826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/>
            </a:lvl1pPr>
          </a:lstStyle>
          <a:p>
            <a:pPr lvl="0"/>
            <a:endParaRPr lang="en-GB"/>
          </a:p>
        </p:txBody>
      </p:sp>
      <p:sp>
        <p:nvSpPr>
          <p:cNvPr id="72" name="Text Placeholder 68">
            <a:extLst>
              <a:ext uri="{FF2B5EF4-FFF2-40B4-BE49-F238E27FC236}">
                <a16:creationId xmlns:a16="http://schemas.microsoft.com/office/drawing/2014/main" id="{6A562EEB-63F3-4363-E885-9974A3399B3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120895" y="5210598"/>
            <a:ext cx="2448402" cy="89826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/>
            </a:lvl1pPr>
          </a:lstStyle>
          <a:p>
            <a:pPr lvl="0"/>
            <a:endParaRPr lang="en-GB"/>
          </a:p>
        </p:txBody>
      </p:sp>
      <p:sp>
        <p:nvSpPr>
          <p:cNvPr id="74" name="Text Placeholder 73">
            <a:extLst>
              <a:ext uri="{FF2B5EF4-FFF2-40B4-BE49-F238E27FC236}">
                <a16:creationId xmlns:a16="http://schemas.microsoft.com/office/drawing/2014/main" id="{CB5DCC9A-609D-3CBA-636B-3262F363C76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9148" y="2613359"/>
            <a:ext cx="2316427" cy="564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/>
            </a:lvl1pPr>
          </a:lstStyle>
          <a:p>
            <a:pPr marL="0" marR="0" lvl="0" indent="0" algn="l" defTabSz="761970" rtl="0" eaLnBrk="1" fontAlgn="auto" latinLnBrk="0" hangingPunct="1">
              <a:lnSpc>
                <a:spcPct val="90000"/>
              </a:lnSpc>
              <a:spcBef>
                <a:spcPts val="8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01</a:t>
            </a:r>
            <a:endParaRPr kumimoji="0" lang="en-US" sz="40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lvl="0"/>
            <a:endParaRPr lang="en-GB"/>
          </a:p>
        </p:txBody>
      </p:sp>
      <p:sp>
        <p:nvSpPr>
          <p:cNvPr id="75" name="Text Placeholder 73">
            <a:extLst>
              <a:ext uri="{FF2B5EF4-FFF2-40B4-BE49-F238E27FC236}">
                <a16:creationId xmlns:a16="http://schemas.microsoft.com/office/drawing/2014/main" id="{A8927A73-B07C-0A6F-BB5E-DA4917B2AD2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50670" y="2614146"/>
            <a:ext cx="2316427" cy="564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/>
            </a:lvl1pPr>
          </a:lstStyle>
          <a:p>
            <a:pPr marL="0" marR="0" lvl="0" indent="0" algn="l" defTabSz="761970" rtl="0" eaLnBrk="1" fontAlgn="auto" latinLnBrk="0" hangingPunct="1">
              <a:lnSpc>
                <a:spcPct val="90000"/>
              </a:lnSpc>
              <a:spcBef>
                <a:spcPts val="8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02</a:t>
            </a:r>
            <a:endParaRPr kumimoji="0" lang="en-US" sz="40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lvl="0"/>
            <a:endParaRPr lang="en-GB"/>
          </a:p>
        </p:txBody>
      </p:sp>
      <p:sp>
        <p:nvSpPr>
          <p:cNvPr id="76" name="Text Placeholder 73">
            <a:extLst>
              <a:ext uri="{FF2B5EF4-FFF2-40B4-BE49-F238E27FC236}">
                <a16:creationId xmlns:a16="http://schemas.microsoft.com/office/drawing/2014/main" id="{7CDCFF87-3C5F-C3A4-3684-9BCC3BC27C9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148" y="4464562"/>
            <a:ext cx="2316427" cy="564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/>
            </a:lvl1pPr>
          </a:lstStyle>
          <a:p>
            <a:pPr marL="0" marR="0" lvl="0" indent="0" algn="l" defTabSz="761970" rtl="0" eaLnBrk="1" fontAlgn="auto" latinLnBrk="0" hangingPunct="1">
              <a:lnSpc>
                <a:spcPct val="90000"/>
              </a:lnSpc>
              <a:spcBef>
                <a:spcPts val="8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03</a:t>
            </a:r>
            <a:endParaRPr kumimoji="0" lang="en-US" sz="40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lvl="0"/>
            <a:endParaRPr lang="en-GB"/>
          </a:p>
        </p:txBody>
      </p:sp>
      <p:sp>
        <p:nvSpPr>
          <p:cNvPr id="77" name="Text Placeholder 73">
            <a:extLst>
              <a:ext uri="{FF2B5EF4-FFF2-40B4-BE49-F238E27FC236}">
                <a16:creationId xmlns:a16="http://schemas.microsoft.com/office/drawing/2014/main" id="{D3DB79B0-FB90-13E7-8B20-0851FBAA849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93367" y="4464562"/>
            <a:ext cx="2316427" cy="564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/>
            </a:lvl1pPr>
          </a:lstStyle>
          <a:p>
            <a:pPr marL="0" marR="0" lvl="0" indent="0" algn="l" defTabSz="761970" rtl="0" eaLnBrk="1" fontAlgn="auto" latinLnBrk="0" hangingPunct="1">
              <a:lnSpc>
                <a:spcPct val="90000"/>
              </a:lnSpc>
              <a:spcBef>
                <a:spcPts val="8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04</a:t>
            </a:r>
            <a:endParaRPr kumimoji="0" lang="en-US" sz="40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85102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 Slide-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>
            <a:extLst>
              <a:ext uri="{FF2B5EF4-FFF2-40B4-BE49-F238E27FC236}">
                <a16:creationId xmlns:a16="http://schemas.microsoft.com/office/drawing/2014/main" id="{FE1ABC8E-BB98-C919-E6BC-AA7B39186957}"/>
              </a:ext>
            </a:extLst>
          </p:cNvPr>
          <p:cNvSpPr/>
          <p:nvPr userDrawn="1"/>
        </p:nvSpPr>
        <p:spPr>
          <a:xfrm>
            <a:off x="-1" y="-1"/>
            <a:ext cx="12192000" cy="6858000"/>
          </a:xfrm>
          <a:custGeom>
            <a:avLst/>
            <a:gdLst>
              <a:gd name="connsiteX0" fmla="*/ 245165 w 12192000"/>
              <a:gd name="connsiteY0" fmla="*/ 242472 h 6858000"/>
              <a:gd name="connsiteX1" fmla="*/ 245165 w 12192000"/>
              <a:gd name="connsiteY1" fmla="*/ 6615528 h 6858000"/>
              <a:gd name="connsiteX2" fmla="*/ 11470341 w 12192000"/>
              <a:gd name="connsiteY2" fmla="*/ 6615528 h 6858000"/>
              <a:gd name="connsiteX3" fmla="*/ 11470341 w 12192000"/>
              <a:gd name="connsiteY3" fmla="*/ 6212541 h 6858000"/>
              <a:gd name="connsiteX4" fmla="*/ 11936921 w 12192000"/>
              <a:gd name="connsiteY4" fmla="*/ 6212541 h 6858000"/>
              <a:gd name="connsiteX5" fmla="*/ 11936921 w 12192000"/>
              <a:gd name="connsiteY5" fmla="*/ 242472 h 6858000"/>
              <a:gd name="connsiteX6" fmla="*/ 0 w 12192000"/>
              <a:gd name="connsiteY6" fmla="*/ 0 h 6858000"/>
              <a:gd name="connsiteX7" fmla="*/ 12192000 w 12192000"/>
              <a:gd name="connsiteY7" fmla="*/ 0 h 6858000"/>
              <a:gd name="connsiteX8" fmla="*/ 12192000 w 12192000"/>
              <a:gd name="connsiteY8" fmla="*/ 6212541 h 6858000"/>
              <a:gd name="connsiteX9" fmla="*/ 12192000 w 12192000"/>
              <a:gd name="connsiteY9" fmla="*/ 6858000 h 6858000"/>
              <a:gd name="connsiteX10" fmla="*/ 11470341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245165" y="242472"/>
                </a:moveTo>
                <a:lnTo>
                  <a:pt x="245165" y="6615528"/>
                </a:lnTo>
                <a:lnTo>
                  <a:pt x="11470341" y="6615528"/>
                </a:lnTo>
                <a:lnTo>
                  <a:pt x="11470341" y="6212541"/>
                </a:lnTo>
                <a:lnTo>
                  <a:pt x="11936921" y="6212541"/>
                </a:lnTo>
                <a:lnTo>
                  <a:pt x="11936921" y="24247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212541"/>
                </a:lnTo>
                <a:lnTo>
                  <a:pt x="12192000" y="6858000"/>
                </a:lnTo>
                <a:lnTo>
                  <a:pt x="1147034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97317161-2CD7-7DFA-011F-A55C360C705F}"/>
              </a:ext>
            </a:extLst>
          </p:cNvPr>
          <p:cNvSpPr/>
          <p:nvPr userDrawn="1"/>
        </p:nvSpPr>
        <p:spPr>
          <a:xfrm>
            <a:off x="8917401" y="2940388"/>
            <a:ext cx="3019519" cy="3674852"/>
          </a:xfrm>
          <a:custGeom>
            <a:avLst/>
            <a:gdLst>
              <a:gd name="connsiteX0" fmla="*/ 676211 w 790892"/>
              <a:gd name="connsiteY0" fmla="*/ 962478 h 962541"/>
              <a:gd name="connsiteX1" fmla="*/ 24892 w 790892"/>
              <a:gd name="connsiteY1" fmla="*/ 962478 h 962541"/>
              <a:gd name="connsiteX2" fmla="*/ 444 w 790892"/>
              <a:gd name="connsiteY2" fmla="*/ 938030 h 962541"/>
              <a:gd name="connsiteX3" fmla="*/ 127 w 790892"/>
              <a:gd name="connsiteY3" fmla="*/ 366593 h 962541"/>
              <a:gd name="connsiteX4" fmla="*/ 0 w 790892"/>
              <a:gd name="connsiteY4" fmla="*/ 304744 h 962541"/>
              <a:gd name="connsiteX5" fmla="*/ 0 w 790892"/>
              <a:gd name="connsiteY5" fmla="*/ 262390 h 962541"/>
              <a:gd name="connsiteX6" fmla="*/ 11620 w 790892"/>
              <a:gd name="connsiteY6" fmla="*/ 242261 h 962541"/>
              <a:gd name="connsiteX7" fmla="*/ 388556 w 790892"/>
              <a:gd name="connsiteY7" fmla="*/ 2421 h 962541"/>
              <a:gd name="connsiteX8" fmla="*/ 405447 w 790892"/>
              <a:gd name="connsiteY8" fmla="*/ 2485 h 962541"/>
              <a:gd name="connsiteX9" fmla="*/ 779780 w 790892"/>
              <a:gd name="connsiteY9" fmla="*/ 242578 h 962541"/>
              <a:gd name="connsiteX10" fmla="*/ 790766 w 790892"/>
              <a:gd name="connsiteY10" fmla="*/ 261311 h 962541"/>
              <a:gd name="connsiteX11" fmla="*/ 790766 w 790892"/>
              <a:gd name="connsiteY11" fmla="*/ 295092 h 962541"/>
              <a:gd name="connsiteX12" fmla="*/ 790892 w 790892"/>
              <a:gd name="connsiteY12" fmla="*/ 364435 h 962541"/>
              <a:gd name="connsiteX13" fmla="*/ 790892 w 790892"/>
              <a:gd name="connsiteY13" fmla="*/ 938157 h 962541"/>
              <a:gd name="connsiteX14" fmla="*/ 766508 w 790892"/>
              <a:gd name="connsiteY14" fmla="*/ 962541 h 962541"/>
              <a:gd name="connsiteX15" fmla="*/ 676211 w 790892"/>
              <a:gd name="connsiteY15" fmla="*/ 962541 h 96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90892" h="962541">
                <a:moveTo>
                  <a:pt x="676211" y="962478"/>
                </a:moveTo>
                <a:lnTo>
                  <a:pt x="24892" y="962478"/>
                </a:lnTo>
                <a:cubicBezTo>
                  <a:pt x="11493" y="962478"/>
                  <a:pt x="444" y="951429"/>
                  <a:pt x="444" y="938030"/>
                </a:cubicBezTo>
                <a:cubicBezTo>
                  <a:pt x="127" y="673806"/>
                  <a:pt x="127" y="624277"/>
                  <a:pt x="127" y="366593"/>
                </a:cubicBezTo>
                <a:lnTo>
                  <a:pt x="0" y="304744"/>
                </a:lnTo>
                <a:lnTo>
                  <a:pt x="0" y="262390"/>
                </a:lnTo>
                <a:cubicBezTo>
                  <a:pt x="127" y="254198"/>
                  <a:pt x="4699" y="246642"/>
                  <a:pt x="11620" y="242261"/>
                </a:cubicBezTo>
                <a:cubicBezTo>
                  <a:pt x="64262" y="208732"/>
                  <a:pt x="288036" y="66048"/>
                  <a:pt x="388556" y="2421"/>
                </a:cubicBezTo>
                <a:cubicBezTo>
                  <a:pt x="393700" y="-818"/>
                  <a:pt x="400303" y="-818"/>
                  <a:pt x="405447" y="2485"/>
                </a:cubicBezTo>
                <a:lnTo>
                  <a:pt x="779780" y="242578"/>
                </a:lnTo>
                <a:cubicBezTo>
                  <a:pt x="786257" y="246705"/>
                  <a:pt x="790194" y="253754"/>
                  <a:pt x="790766" y="261311"/>
                </a:cubicBezTo>
                <a:lnTo>
                  <a:pt x="790766" y="295092"/>
                </a:lnTo>
                <a:cubicBezTo>
                  <a:pt x="790766" y="295092"/>
                  <a:pt x="790892" y="364435"/>
                  <a:pt x="790892" y="364435"/>
                </a:cubicBezTo>
                <a:lnTo>
                  <a:pt x="790892" y="938157"/>
                </a:lnTo>
                <a:cubicBezTo>
                  <a:pt x="790892" y="951619"/>
                  <a:pt x="779970" y="962541"/>
                  <a:pt x="766508" y="962541"/>
                </a:cubicBezTo>
                <a:lnTo>
                  <a:pt x="676211" y="962541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98D7026A-5658-F334-AF9D-441CE29AE5A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897995" y="1581309"/>
            <a:ext cx="1984906" cy="50681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1D8510D-B258-C6BE-43B9-36346902CEAC}"/>
              </a:ext>
            </a:extLst>
          </p:cNvPr>
          <p:cNvSpPr txBox="1"/>
          <p:nvPr userDrawn="1"/>
        </p:nvSpPr>
        <p:spPr>
          <a:xfrm>
            <a:off x="897993" y="2632637"/>
            <a:ext cx="5943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i="0">
                <a:solidFill>
                  <a:schemeClr val="tx1"/>
                </a:solidFill>
                <a:latin typeface="Helvetica" pitchFamily="2" charset="0"/>
                <a:ea typeface="Bagoss Condensed SemiBold" panose="020B0806060102020204" pitchFamily="34" charset="77"/>
                <a:cs typeface="Bagoss Condensed SemiBold" panose="020B0806060102020204" pitchFamily="34" charset="77"/>
              </a:rPr>
              <a:t>The voice of the home building industry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C3D4ACE-9872-256F-3FE6-81B36D83CC87}"/>
              </a:ext>
            </a:extLst>
          </p:cNvPr>
          <p:cNvSpPr txBox="1"/>
          <p:nvPr userDrawn="1"/>
        </p:nvSpPr>
        <p:spPr>
          <a:xfrm>
            <a:off x="897993" y="4422214"/>
            <a:ext cx="5943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0" i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ww.hbf.co.uk</a:t>
            </a:r>
            <a:r>
              <a:rPr lang="en-GB" sz="2000" b="0" i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| 0207 960 1600 | @</a:t>
            </a:r>
            <a:r>
              <a:rPr lang="en-GB" sz="2000" b="0" i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omebuildersfed</a:t>
            </a:r>
            <a:endParaRPr lang="en-GB" sz="2000" b="0" i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372170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come slide_alt layout 3_4 it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ABBCA2-FFE5-D6B8-5AD9-008668A292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53" y="399899"/>
            <a:ext cx="11400896" cy="864810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3616FEEA-7952-5B13-B118-D866CD8A081B}"/>
              </a:ext>
            </a:extLst>
          </p:cNvPr>
          <p:cNvCxnSpPr>
            <a:cxnSpLocks/>
          </p:cNvCxnSpPr>
          <p:nvPr userDrawn="1"/>
        </p:nvCxnSpPr>
        <p:spPr>
          <a:xfrm>
            <a:off x="392814" y="2218267"/>
            <a:ext cx="2743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B117AAA-EC4A-158B-941A-298A2E0D8AD1}"/>
              </a:ext>
            </a:extLst>
          </p:cNvPr>
          <p:cNvCxnSpPr>
            <a:cxnSpLocks/>
          </p:cNvCxnSpPr>
          <p:nvPr userDrawn="1"/>
        </p:nvCxnSpPr>
        <p:spPr>
          <a:xfrm>
            <a:off x="3283366" y="2218267"/>
            <a:ext cx="2723092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8CE95B1-3505-7497-D520-6C027C3B4ED2}"/>
              </a:ext>
            </a:extLst>
          </p:cNvPr>
          <p:cNvCxnSpPr>
            <a:cxnSpLocks/>
          </p:cNvCxnSpPr>
          <p:nvPr userDrawn="1"/>
        </p:nvCxnSpPr>
        <p:spPr>
          <a:xfrm>
            <a:off x="6153810" y="2218267"/>
            <a:ext cx="2732614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3C2AB4E-1CE3-F188-CCEC-B141E947B6FF}"/>
              </a:ext>
            </a:extLst>
          </p:cNvPr>
          <p:cNvCxnSpPr>
            <a:cxnSpLocks/>
          </p:cNvCxnSpPr>
          <p:nvPr userDrawn="1"/>
        </p:nvCxnSpPr>
        <p:spPr>
          <a:xfrm>
            <a:off x="9033776" y="2218267"/>
            <a:ext cx="2732614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Graphic 8">
            <a:extLst>
              <a:ext uri="{FF2B5EF4-FFF2-40B4-BE49-F238E27FC236}">
                <a16:creationId xmlns:a16="http://schemas.microsoft.com/office/drawing/2014/main" id="{41A66A03-C16D-B9A2-D012-83B5FB8CBD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40520" y="1534887"/>
            <a:ext cx="609600" cy="609600"/>
          </a:xfrm>
          <a:prstGeom prst="rect">
            <a:avLst/>
          </a:prstGeom>
        </p:spPr>
      </p:pic>
      <p:pic>
        <p:nvPicPr>
          <p:cNvPr id="18" name="Graphic 32">
            <a:extLst>
              <a:ext uri="{FF2B5EF4-FFF2-40B4-BE49-F238E27FC236}">
                <a16:creationId xmlns:a16="http://schemas.microsoft.com/office/drawing/2014/main" id="{33C9F1B3-EB7D-B68E-EE2F-80835F6EC39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086183" y="1524465"/>
            <a:ext cx="609600" cy="609600"/>
          </a:xfrm>
          <a:prstGeom prst="rect">
            <a:avLst/>
          </a:prstGeom>
        </p:spPr>
      </p:pic>
      <p:pic>
        <p:nvPicPr>
          <p:cNvPr id="19" name="Graphic 74">
            <a:extLst>
              <a:ext uri="{FF2B5EF4-FFF2-40B4-BE49-F238E27FC236}">
                <a16:creationId xmlns:a16="http://schemas.microsoft.com/office/drawing/2014/main" id="{9CE09858-1898-2303-22DA-932A37EE332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duotone>
              <a:schemeClr val="accent4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020751" y="1534887"/>
            <a:ext cx="609600" cy="609600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C7CFBD6D-F657-3E8F-197E-91A9F5400DB5}"/>
              </a:ext>
            </a:extLst>
          </p:cNvPr>
          <p:cNvGrpSpPr/>
          <p:nvPr userDrawn="1"/>
        </p:nvGrpSpPr>
        <p:grpSpPr>
          <a:xfrm>
            <a:off x="3228678" y="1551517"/>
            <a:ext cx="609600" cy="609600"/>
            <a:chOff x="3874414" y="1861820"/>
            <a:chExt cx="731520" cy="731520"/>
          </a:xfrm>
        </p:grpSpPr>
        <p:pic>
          <p:nvPicPr>
            <p:cNvPr id="21" name="Graphic 48">
              <a:extLst>
                <a:ext uri="{FF2B5EF4-FFF2-40B4-BE49-F238E27FC236}">
                  <a16:creationId xmlns:a16="http://schemas.microsoft.com/office/drawing/2014/main" id="{74D0BD3C-EF9A-9261-7945-F732A6F6934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3874414" y="1861820"/>
              <a:ext cx="731520" cy="731520"/>
            </a:xfrm>
            <a:prstGeom prst="rect">
              <a:avLst/>
            </a:prstGeom>
          </p:spPr>
        </p:pic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4A26D2D7-78AB-9134-CE56-F8C7AB6B8A57}"/>
                </a:ext>
              </a:extLst>
            </p:cNvPr>
            <p:cNvSpPr/>
            <p:nvPr/>
          </p:nvSpPr>
          <p:spPr>
            <a:xfrm>
              <a:off x="4176252" y="2192594"/>
              <a:ext cx="125361" cy="15977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000" b="1">
                  <a:solidFill>
                    <a:schemeClr val="accent2"/>
                  </a:solidFill>
                </a:rPr>
                <a:t>£</a:t>
              </a:r>
            </a:p>
          </p:txBody>
        </p:sp>
      </p:grp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82317B6B-25C4-4EE5-55C7-BDEF4725EEA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0520" y="3137498"/>
            <a:ext cx="2739760" cy="25201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/>
            </a:lvl1pPr>
          </a:lstStyle>
          <a:p>
            <a:pPr marL="142869" lvl="0" indent="-142869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Arial" panose="020B0604020202020204" pitchFamily="34" charset="0"/>
              <a:buChar char="•"/>
              <a:defRPr/>
            </a:pPr>
            <a:endParaRPr lang="en-GB"/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D5530823-59B5-FE85-0F49-B27416516A8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52334" y="3137498"/>
            <a:ext cx="2739760" cy="25201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/>
            </a:lvl1pPr>
          </a:lstStyle>
          <a:p>
            <a:pPr lvl="0"/>
            <a:endParaRPr lang="en-GB"/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FB64A929-59C8-36EA-BFA5-12BD6038CB4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44173" y="3137498"/>
            <a:ext cx="2739760" cy="25201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/>
            </a:lvl1pPr>
          </a:lstStyle>
          <a:p>
            <a:pPr lvl="0"/>
            <a:endParaRPr lang="en-GB"/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EE6ECEEA-7747-25D7-B68F-2FEF2E62986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032409" y="3137498"/>
            <a:ext cx="2739760" cy="25201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/>
            </a:lvl1pPr>
          </a:lstStyle>
          <a:p>
            <a:pPr lvl="0"/>
            <a:endParaRPr lang="en-GB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DB43BDE6-C955-3427-0F81-0B614D22D4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2814" y="2370304"/>
            <a:ext cx="2739760" cy="2050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33" b="1">
                <a:solidFill>
                  <a:schemeClr val="accent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3" name="Text Placeholder 31">
            <a:extLst>
              <a:ext uri="{FF2B5EF4-FFF2-40B4-BE49-F238E27FC236}">
                <a16:creationId xmlns:a16="http://schemas.microsoft.com/office/drawing/2014/main" id="{838501B6-A421-CA8B-3407-3E281477711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52334" y="2375439"/>
            <a:ext cx="2739760" cy="2050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33" b="1">
                <a:solidFill>
                  <a:schemeClr val="accent2"/>
                </a:solidFill>
              </a:defRPr>
            </a:lvl1pPr>
          </a:lstStyle>
          <a:p>
            <a:pPr marL="0" marR="0" lvl="0" indent="0" algn="l" defTabSz="761970" rtl="0" eaLnBrk="1" fontAlgn="auto" latinLnBrk="0" hangingPunct="1">
              <a:lnSpc>
                <a:spcPct val="90000"/>
              </a:lnSpc>
              <a:spcBef>
                <a:spcPts val="8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GB"/>
          </a:p>
        </p:txBody>
      </p:sp>
      <p:sp>
        <p:nvSpPr>
          <p:cNvPr id="34" name="Text Placeholder 31">
            <a:extLst>
              <a:ext uri="{FF2B5EF4-FFF2-40B4-BE49-F238E27FC236}">
                <a16:creationId xmlns:a16="http://schemas.microsoft.com/office/drawing/2014/main" id="{95CA23B9-FC34-3297-B0E5-75EDEC9ABC9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24714" y="2370304"/>
            <a:ext cx="2739760" cy="2050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33" b="1">
                <a:solidFill>
                  <a:schemeClr val="accent3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5" name="Text Placeholder 31">
            <a:extLst>
              <a:ext uri="{FF2B5EF4-FFF2-40B4-BE49-F238E27FC236}">
                <a16:creationId xmlns:a16="http://schemas.microsoft.com/office/drawing/2014/main" id="{C5BAE7C8-89BE-ED0D-F404-A2F4504F91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020751" y="2370304"/>
            <a:ext cx="2739760" cy="2050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33" b="1">
                <a:solidFill>
                  <a:schemeClr val="accent4"/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417322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come slide_alt layout 3_4 item_edi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7461D42-3A00-AADA-9A5D-FFB0957C1C8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92814" y="1524000"/>
            <a:ext cx="620448" cy="6204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33"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ABBCA2-FFE5-D6B8-5AD9-008668A292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53" y="399899"/>
            <a:ext cx="11400896" cy="864810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3616FEEA-7952-5B13-B118-D866CD8A081B}"/>
              </a:ext>
            </a:extLst>
          </p:cNvPr>
          <p:cNvCxnSpPr>
            <a:cxnSpLocks/>
          </p:cNvCxnSpPr>
          <p:nvPr userDrawn="1"/>
        </p:nvCxnSpPr>
        <p:spPr>
          <a:xfrm>
            <a:off x="392814" y="2218267"/>
            <a:ext cx="2743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B117AAA-EC4A-158B-941A-298A2E0D8AD1}"/>
              </a:ext>
            </a:extLst>
          </p:cNvPr>
          <p:cNvCxnSpPr>
            <a:cxnSpLocks/>
          </p:cNvCxnSpPr>
          <p:nvPr userDrawn="1"/>
        </p:nvCxnSpPr>
        <p:spPr>
          <a:xfrm>
            <a:off x="3283366" y="2218267"/>
            <a:ext cx="2723092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8CE95B1-3505-7497-D520-6C027C3B4ED2}"/>
              </a:ext>
            </a:extLst>
          </p:cNvPr>
          <p:cNvCxnSpPr>
            <a:cxnSpLocks/>
          </p:cNvCxnSpPr>
          <p:nvPr userDrawn="1"/>
        </p:nvCxnSpPr>
        <p:spPr>
          <a:xfrm>
            <a:off x="6153810" y="2218267"/>
            <a:ext cx="2732614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3C2AB4E-1CE3-F188-CCEC-B141E947B6FF}"/>
              </a:ext>
            </a:extLst>
          </p:cNvPr>
          <p:cNvCxnSpPr>
            <a:cxnSpLocks/>
          </p:cNvCxnSpPr>
          <p:nvPr userDrawn="1"/>
        </p:nvCxnSpPr>
        <p:spPr>
          <a:xfrm>
            <a:off x="9033776" y="2218267"/>
            <a:ext cx="2732614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82317B6B-25C4-4EE5-55C7-BDEF4725EEA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0520" y="3137498"/>
            <a:ext cx="2739760" cy="25201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/>
            </a:lvl1pPr>
          </a:lstStyle>
          <a:p>
            <a:pPr marL="142869" lvl="0" indent="-142869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Arial" panose="020B0604020202020204" pitchFamily="34" charset="0"/>
              <a:buChar char="•"/>
              <a:defRPr/>
            </a:pPr>
            <a:endParaRPr lang="en-GB"/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D5530823-59B5-FE85-0F49-B27416516A8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52334" y="3137498"/>
            <a:ext cx="2739760" cy="25201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/>
            </a:lvl1pPr>
          </a:lstStyle>
          <a:p>
            <a:pPr lvl="0"/>
            <a:endParaRPr lang="en-GB"/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FB64A929-59C8-36EA-BFA5-12BD6038CB4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44173" y="3137498"/>
            <a:ext cx="2739760" cy="25201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/>
            </a:lvl1pPr>
          </a:lstStyle>
          <a:p>
            <a:pPr lvl="0"/>
            <a:endParaRPr lang="en-GB"/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EE6ECEEA-7747-25D7-B68F-2FEF2E62986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032409" y="3137498"/>
            <a:ext cx="2739760" cy="25201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/>
            </a:lvl1pPr>
          </a:lstStyle>
          <a:p>
            <a:pPr lvl="0"/>
            <a:endParaRPr lang="en-GB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DB43BDE6-C955-3427-0F81-0B614D22D4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2814" y="2370304"/>
            <a:ext cx="2739760" cy="2050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33" b="1">
                <a:solidFill>
                  <a:schemeClr val="accent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3" name="Text Placeholder 31">
            <a:extLst>
              <a:ext uri="{FF2B5EF4-FFF2-40B4-BE49-F238E27FC236}">
                <a16:creationId xmlns:a16="http://schemas.microsoft.com/office/drawing/2014/main" id="{838501B6-A421-CA8B-3407-3E281477711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52334" y="2375439"/>
            <a:ext cx="2739760" cy="2050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33" b="1">
                <a:solidFill>
                  <a:schemeClr val="accent2"/>
                </a:solidFill>
              </a:defRPr>
            </a:lvl1pPr>
          </a:lstStyle>
          <a:p>
            <a:pPr marL="0" marR="0" lvl="0" indent="0" algn="l" defTabSz="761970" rtl="0" eaLnBrk="1" fontAlgn="auto" latinLnBrk="0" hangingPunct="1">
              <a:lnSpc>
                <a:spcPct val="90000"/>
              </a:lnSpc>
              <a:spcBef>
                <a:spcPts val="8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GB"/>
          </a:p>
        </p:txBody>
      </p:sp>
      <p:sp>
        <p:nvSpPr>
          <p:cNvPr id="34" name="Text Placeholder 31">
            <a:extLst>
              <a:ext uri="{FF2B5EF4-FFF2-40B4-BE49-F238E27FC236}">
                <a16:creationId xmlns:a16="http://schemas.microsoft.com/office/drawing/2014/main" id="{95CA23B9-FC34-3297-B0E5-75EDEC9ABC9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24714" y="2370304"/>
            <a:ext cx="2739760" cy="2050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33" b="1">
                <a:solidFill>
                  <a:schemeClr val="accent3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5" name="Text Placeholder 31">
            <a:extLst>
              <a:ext uri="{FF2B5EF4-FFF2-40B4-BE49-F238E27FC236}">
                <a16:creationId xmlns:a16="http://schemas.microsoft.com/office/drawing/2014/main" id="{C5BAE7C8-89BE-ED0D-F404-A2F4504F91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020751" y="2370304"/>
            <a:ext cx="2739760" cy="2050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33" b="1">
                <a:solidFill>
                  <a:schemeClr val="accent4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B0F751A8-407D-C5A0-0EE5-A86F45D5B53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252334" y="1524000"/>
            <a:ext cx="620448" cy="6204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33"/>
            </a:lvl1pPr>
          </a:lstStyle>
          <a:p>
            <a:endParaRPr lang="en-GB"/>
          </a:p>
        </p:txBody>
      </p:sp>
      <p:sp>
        <p:nvSpPr>
          <p:cNvPr id="10" name="Picture Placeholder 7">
            <a:extLst>
              <a:ext uri="{FF2B5EF4-FFF2-40B4-BE49-F238E27FC236}">
                <a16:creationId xmlns:a16="http://schemas.microsoft.com/office/drawing/2014/main" id="{D74B5B1C-CE71-EEE1-790C-1811D22A7EF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124714" y="1524000"/>
            <a:ext cx="620448" cy="6204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33"/>
            </a:lvl1pPr>
          </a:lstStyle>
          <a:p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2D9E136B-020A-232C-E5E0-FE5DDBD0BC2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020751" y="1524000"/>
            <a:ext cx="620448" cy="6204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33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884154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come slide_alt layout 4_4 it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5E652EA-AC7C-713B-5738-2059F92473C0}"/>
              </a:ext>
            </a:extLst>
          </p:cNvPr>
          <p:cNvSpPr/>
          <p:nvPr userDrawn="1"/>
        </p:nvSpPr>
        <p:spPr>
          <a:xfrm>
            <a:off x="395552" y="2156620"/>
            <a:ext cx="2738438" cy="29868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61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C7E974A-6CD2-0DD0-418C-024FCFF8F8DE}"/>
              </a:ext>
            </a:extLst>
          </p:cNvPr>
          <p:cNvSpPr/>
          <p:nvPr userDrawn="1"/>
        </p:nvSpPr>
        <p:spPr>
          <a:xfrm>
            <a:off x="3292643" y="2156620"/>
            <a:ext cx="2727951" cy="298688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61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034C015-CE08-B87F-6081-9335F96AA038}"/>
              </a:ext>
            </a:extLst>
          </p:cNvPr>
          <p:cNvSpPr/>
          <p:nvPr userDrawn="1"/>
        </p:nvSpPr>
        <p:spPr>
          <a:xfrm>
            <a:off x="6171256" y="2156620"/>
            <a:ext cx="2737265" cy="298688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61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0F8521F-31C6-F38B-CD52-BC7C5D249B2F}"/>
              </a:ext>
            </a:extLst>
          </p:cNvPr>
          <p:cNvSpPr/>
          <p:nvPr userDrawn="1"/>
        </p:nvSpPr>
        <p:spPr>
          <a:xfrm>
            <a:off x="9056688" y="2156620"/>
            <a:ext cx="2739761" cy="298688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61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FCDB002-D4B9-C2D9-0B89-DF6F23590590}"/>
              </a:ext>
            </a:extLst>
          </p:cNvPr>
          <p:cNvGrpSpPr/>
          <p:nvPr userDrawn="1"/>
        </p:nvGrpSpPr>
        <p:grpSpPr>
          <a:xfrm>
            <a:off x="1588909" y="2310018"/>
            <a:ext cx="351723" cy="351000"/>
            <a:chOff x="522910" y="4685520"/>
            <a:chExt cx="441366" cy="441366"/>
          </a:xfrm>
        </p:grpSpPr>
        <p:pic>
          <p:nvPicPr>
            <p:cNvPr id="14" name="Graphic 68">
              <a:extLst>
                <a:ext uri="{FF2B5EF4-FFF2-40B4-BE49-F238E27FC236}">
                  <a16:creationId xmlns:a16="http://schemas.microsoft.com/office/drawing/2014/main" id="{8852EDE3-04BF-F1AA-7091-C417DA141A6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522910" y="4685520"/>
              <a:ext cx="441366" cy="441366"/>
            </a:xfrm>
            <a:prstGeom prst="rect">
              <a:avLst/>
            </a:prstGeom>
          </p:spPr>
        </p:pic>
        <p:sp>
          <p:nvSpPr>
            <p:cNvPr id="15" name="Content Placeholder 2">
              <a:extLst>
                <a:ext uri="{FF2B5EF4-FFF2-40B4-BE49-F238E27FC236}">
                  <a16:creationId xmlns:a16="http://schemas.microsoft.com/office/drawing/2014/main" id="{43A06C49-DDA3-C595-FDAC-A1A6A42CAC0B}"/>
                </a:ext>
              </a:extLst>
            </p:cNvPr>
            <p:cNvSpPr txBox="1">
              <a:spLocks/>
            </p:cNvSpPr>
            <p:nvPr/>
          </p:nvSpPr>
          <p:spPr>
            <a:xfrm>
              <a:off x="589411" y="4685520"/>
              <a:ext cx="249382" cy="441366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>
              <a:lvl1pPr marL="0" indent="0" algn="l" defTabSz="1097280" rtl="0" eaLnBrk="1" latinLnBrk="0" hangingPunct="1">
                <a:lnSpc>
                  <a:spcPct val="100000"/>
                </a:lnSpc>
                <a:spcBef>
                  <a:spcPts val="1800"/>
                </a:spcBef>
                <a:buFont typeface="Arial" panose="020B0604020202020204" pitchFamily="34" charset="0"/>
                <a:buNone/>
                <a:defRPr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1097280" rtl="0" eaLnBrk="1" latinLnBrk="0" hangingPunct="1">
                <a:lnSpc>
                  <a:spcPct val="100000"/>
                </a:lnSpc>
                <a:spcBef>
                  <a:spcPts val="12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3360" indent="-213360" algn="l" defTabSz="109728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24816" indent="-211456" algn="l" defTabSz="109728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2788" indent="-266700" algn="l" defTabSz="109728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9728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13360" indent="-213360" algn="l" defTabSz="109728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4816" indent="-211456" algn="l" defTabSz="109728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‒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1097280" rtl="0" eaLnBrk="1" latinLnBrk="0" hangingPunct="1">
                <a:lnSpc>
                  <a:spcPct val="100000"/>
                </a:lnSpc>
                <a:spcBef>
                  <a:spcPts val="2160"/>
                </a:spcBef>
                <a:buFont typeface="Arial" panose="020B0604020202020204" pitchFamily="34" charset="0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2332" algn="ctr"/>
              <a:r>
                <a:rPr lang="en-US" sz="1500" b="0">
                  <a:solidFill>
                    <a:schemeClr val="accent1"/>
                  </a:solidFill>
                </a:rPr>
                <a:t>1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806E7A75-377C-97D8-9E02-51253C7515BB}"/>
              </a:ext>
            </a:extLst>
          </p:cNvPr>
          <p:cNvGrpSpPr/>
          <p:nvPr userDrawn="1"/>
        </p:nvGrpSpPr>
        <p:grpSpPr>
          <a:xfrm>
            <a:off x="4480757" y="2310018"/>
            <a:ext cx="351723" cy="351000"/>
            <a:chOff x="522910" y="4685520"/>
            <a:chExt cx="441366" cy="441366"/>
          </a:xfrm>
        </p:grpSpPr>
        <p:pic>
          <p:nvPicPr>
            <p:cNvPr id="28" name="Graphic 73">
              <a:extLst>
                <a:ext uri="{FF2B5EF4-FFF2-40B4-BE49-F238E27FC236}">
                  <a16:creationId xmlns:a16="http://schemas.microsoft.com/office/drawing/2014/main" id="{51B4F6A3-7254-FB72-CFEC-6DD12487C75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22910" y="4685520"/>
              <a:ext cx="441366" cy="441366"/>
            </a:xfrm>
            <a:prstGeom prst="rect">
              <a:avLst/>
            </a:prstGeom>
          </p:spPr>
        </p:pic>
        <p:sp>
          <p:nvSpPr>
            <p:cNvPr id="29" name="Content Placeholder 2">
              <a:extLst>
                <a:ext uri="{FF2B5EF4-FFF2-40B4-BE49-F238E27FC236}">
                  <a16:creationId xmlns:a16="http://schemas.microsoft.com/office/drawing/2014/main" id="{C93A0733-9C67-FF41-5EA1-2BC1DA7FF3B3}"/>
                </a:ext>
              </a:extLst>
            </p:cNvPr>
            <p:cNvSpPr txBox="1">
              <a:spLocks/>
            </p:cNvSpPr>
            <p:nvPr/>
          </p:nvSpPr>
          <p:spPr>
            <a:xfrm>
              <a:off x="597583" y="4685520"/>
              <a:ext cx="249382" cy="441366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>
              <a:lvl1pPr marL="0" indent="0" algn="l" defTabSz="1097280" rtl="0" eaLnBrk="1" latinLnBrk="0" hangingPunct="1">
                <a:lnSpc>
                  <a:spcPct val="100000"/>
                </a:lnSpc>
                <a:spcBef>
                  <a:spcPts val="1800"/>
                </a:spcBef>
                <a:buFont typeface="Arial" panose="020B0604020202020204" pitchFamily="34" charset="0"/>
                <a:buNone/>
                <a:defRPr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1097280" rtl="0" eaLnBrk="1" latinLnBrk="0" hangingPunct="1">
                <a:lnSpc>
                  <a:spcPct val="100000"/>
                </a:lnSpc>
                <a:spcBef>
                  <a:spcPts val="12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3360" indent="-213360" algn="l" defTabSz="109728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24816" indent="-211456" algn="l" defTabSz="109728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2788" indent="-266700" algn="l" defTabSz="109728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9728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13360" indent="-213360" algn="l" defTabSz="109728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4816" indent="-211456" algn="l" defTabSz="109728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‒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1097280" rtl="0" eaLnBrk="1" latinLnBrk="0" hangingPunct="1">
                <a:lnSpc>
                  <a:spcPct val="100000"/>
                </a:lnSpc>
                <a:spcBef>
                  <a:spcPts val="2160"/>
                </a:spcBef>
                <a:buFont typeface="Arial" panose="020B0604020202020204" pitchFamily="34" charset="0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2332" algn="ctr"/>
              <a:r>
                <a:rPr lang="en-US" sz="1500" b="0">
                  <a:solidFill>
                    <a:schemeClr val="accent2"/>
                  </a:solidFill>
                </a:rPr>
                <a:t>2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2212F70-BEFF-AA3F-75CB-508D6C611FE7}"/>
              </a:ext>
            </a:extLst>
          </p:cNvPr>
          <p:cNvGrpSpPr/>
          <p:nvPr userDrawn="1"/>
        </p:nvGrpSpPr>
        <p:grpSpPr>
          <a:xfrm>
            <a:off x="7364028" y="2310018"/>
            <a:ext cx="351723" cy="351000"/>
            <a:chOff x="522910" y="4685520"/>
            <a:chExt cx="441366" cy="441366"/>
          </a:xfrm>
        </p:grpSpPr>
        <p:pic>
          <p:nvPicPr>
            <p:cNvPr id="36" name="Graphic 79">
              <a:extLst>
                <a:ext uri="{FF2B5EF4-FFF2-40B4-BE49-F238E27FC236}">
                  <a16:creationId xmlns:a16="http://schemas.microsoft.com/office/drawing/2014/main" id="{1A2F8478-9EFC-19F1-7D96-1DF369DD461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22910" y="4685520"/>
              <a:ext cx="441366" cy="441366"/>
            </a:xfrm>
            <a:prstGeom prst="rect">
              <a:avLst/>
            </a:prstGeom>
          </p:spPr>
        </p:pic>
        <p:sp>
          <p:nvSpPr>
            <p:cNvPr id="37" name="Content Placeholder 2">
              <a:extLst>
                <a:ext uri="{FF2B5EF4-FFF2-40B4-BE49-F238E27FC236}">
                  <a16:creationId xmlns:a16="http://schemas.microsoft.com/office/drawing/2014/main" id="{C25B277A-B84D-57F1-6E71-256F2515CA6D}"/>
                </a:ext>
              </a:extLst>
            </p:cNvPr>
            <p:cNvSpPr txBox="1">
              <a:spLocks/>
            </p:cNvSpPr>
            <p:nvPr/>
          </p:nvSpPr>
          <p:spPr>
            <a:xfrm>
              <a:off x="597583" y="4685520"/>
              <a:ext cx="249382" cy="441366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>
              <a:lvl1pPr marL="0" indent="0" algn="l" defTabSz="1097280" rtl="0" eaLnBrk="1" latinLnBrk="0" hangingPunct="1">
                <a:lnSpc>
                  <a:spcPct val="100000"/>
                </a:lnSpc>
                <a:spcBef>
                  <a:spcPts val="1800"/>
                </a:spcBef>
                <a:buFont typeface="Arial" panose="020B0604020202020204" pitchFamily="34" charset="0"/>
                <a:buNone/>
                <a:defRPr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1097280" rtl="0" eaLnBrk="1" latinLnBrk="0" hangingPunct="1">
                <a:lnSpc>
                  <a:spcPct val="100000"/>
                </a:lnSpc>
                <a:spcBef>
                  <a:spcPts val="12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3360" indent="-213360" algn="l" defTabSz="109728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24816" indent="-211456" algn="l" defTabSz="109728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2788" indent="-266700" algn="l" defTabSz="109728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9728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13360" indent="-213360" algn="l" defTabSz="109728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4816" indent="-211456" algn="l" defTabSz="109728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‒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1097280" rtl="0" eaLnBrk="1" latinLnBrk="0" hangingPunct="1">
                <a:lnSpc>
                  <a:spcPct val="100000"/>
                </a:lnSpc>
                <a:spcBef>
                  <a:spcPts val="2160"/>
                </a:spcBef>
                <a:buFont typeface="Arial" panose="020B0604020202020204" pitchFamily="34" charset="0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2332" algn="ctr"/>
              <a:r>
                <a:rPr lang="en-US" sz="1500" b="0">
                  <a:solidFill>
                    <a:schemeClr val="accent3"/>
                  </a:solidFill>
                </a:rPr>
                <a:t>3</a:t>
              </a:r>
            </a:p>
          </p:txBody>
        </p:sp>
      </p:grpSp>
      <p:sp>
        <p:nvSpPr>
          <p:cNvPr id="42" name="Title 22">
            <a:extLst>
              <a:ext uri="{FF2B5EF4-FFF2-40B4-BE49-F238E27FC236}">
                <a16:creationId xmlns:a16="http://schemas.microsoft.com/office/drawing/2014/main" id="{32E50A9E-3E6D-5F0C-795B-60174EF80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53" y="399899"/>
            <a:ext cx="11400896" cy="864810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85BF6CBF-F40C-B739-2FEE-C4F6962267C4}"/>
              </a:ext>
            </a:extLst>
          </p:cNvPr>
          <p:cNvGrpSpPr/>
          <p:nvPr userDrawn="1"/>
        </p:nvGrpSpPr>
        <p:grpSpPr>
          <a:xfrm>
            <a:off x="10251369" y="2310018"/>
            <a:ext cx="351723" cy="351000"/>
            <a:chOff x="522910" y="4685520"/>
            <a:chExt cx="441366" cy="441366"/>
          </a:xfrm>
        </p:grpSpPr>
        <p:pic>
          <p:nvPicPr>
            <p:cNvPr id="44" name="Graphic 79">
              <a:extLst>
                <a:ext uri="{FF2B5EF4-FFF2-40B4-BE49-F238E27FC236}">
                  <a16:creationId xmlns:a16="http://schemas.microsoft.com/office/drawing/2014/main" id="{2996D4E5-C00E-D576-D5D2-B873E1159AA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duotone>
                <a:schemeClr val="accent4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522910" y="4685520"/>
              <a:ext cx="441366" cy="441366"/>
            </a:xfrm>
            <a:prstGeom prst="rect">
              <a:avLst/>
            </a:prstGeom>
          </p:spPr>
        </p:pic>
        <p:sp>
          <p:nvSpPr>
            <p:cNvPr id="45" name="Content Placeholder 2">
              <a:extLst>
                <a:ext uri="{FF2B5EF4-FFF2-40B4-BE49-F238E27FC236}">
                  <a16:creationId xmlns:a16="http://schemas.microsoft.com/office/drawing/2014/main" id="{C2F70A1A-FE4F-8813-ABCD-488D416BB1E1}"/>
                </a:ext>
              </a:extLst>
            </p:cNvPr>
            <p:cNvSpPr txBox="1">
              <a:spLocks/>
            </p:cNvSpPr>
            <p:nvPr/>
          </p:nvSpPr>
          <p:spPr>
            <a:xfrm>
              <a:off x="597583" y="4685520"/>
              <a:ext cx="249382" cy="441366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>
              <a:lvl1pPr marL="0" indent="0" algn="l" defTabSz="1097280" rtl="0" eaLnBrk="1" latinLnBrk="0" hangingPunct="1">
                <a:lnSpc>
                  <a:spcPct val="100000"/>
                </a:lnSpc>
                <a:spcBef>
                  <a:spcPts val="1800"/>
                </a:spcBef>
                <a:buFont typeface="Arial" panose="020B0604020202020204" pitchFamily="34" charset="0"/>
                <a:buNone/>
                <a:defRPr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1097280" rtl="0" eaLnBrk="1" latinLnBrk="0" hangingPunct="1">
                <a:lnSpc>
                  <a:spcPct val="100000"/>
                </a:lnSpc>
                <a:spcBef>
                  <a:spcPts val="12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3360" indent="-213360" algn="l" defTabSz="109728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24816" indent="-211456" algn="l" defTabSz="109728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2788" indent="-266700" algn="l" defTabSz="109728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9728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13360" indent="-213360" algn="l" defTabSz="109728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4816" indent="-211456" algn="l" defTabSz="109728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‒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1097280" rtl="0" eaLnBrk="1" latinLnBrk="0" hangingPunct="1">
                <a:lnSpc>
                  <a:spcPct val="100000"/>
                </a:lnSpc>
                <a:spcBef>
                  <a:spcPts val="2160"/>
                </a:spcBef>
                <a:buFont typeface="Arial" panose="020B0604020202020204" pitchFamily="34" charset="0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2332" algn="ctr"/>
              <a:r>
                <a:rPr lang="en-US" sz="1500" b="0">
                  <a:solidFill>
                    <a:schemeClr val="accent4"/>
                  </a:solidFill>
                </a:rPr>
                <a:t>4</a:t>
              </a:r>
            </a:p>
          </p:txBody>
        </p:sp>
      </p:grp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25DB1F4F-B98F-09A5-F253-A144A48267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7224" y="3342274"/>
            <a:ext cx="2655093" cy="13586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000"/>
            </a:lvl1pPr>
          </a:lstStyle>
          <a:p>
            <a:pPr lvl="0"/>
            <a:endParaRPr lang="en-GB"/>
          </a:p>
        </p:txBody>
      </p:sp>
      <p:sp>
        <p:nvSpPr>
          <p:cNvPr id="50" name="Text Placeholder 48">
            <a:extLst>
              <a:ext uri="{FF2B5EF4-FFF2-40B4-BE49-F238E27FC236}">
                <a16:creationId xmlns:a16="http://schemas.microsoft.com/office/drawing/2014/main" id="{B83E3DAE-A539-8AFD-3CF1-3E55D5056D5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29071" y="3342274"/>
            <a:ext cx="2655093" cy="13586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000"/>
            </a:lvl1pPr>
          </a:lstStyle>
          <a:p>
            <a:pPr lvl="0"/>
            <a:endParaRPr lang="en-GB"/>
          </a:p>
        </p:txBody>
      </p:sp>
      <p:sp>
        <p:nvSpPr>
          <p:cNvPr id="51" name="Text Placeholder 48">
            <a:extLst>
              <a:ext uri="{FF2B5EF4-FFF2-40B4-BE49-F238E27FC236}">
                <a16:creationId xmlns:a16="http://schemas.microsoft.com/office/drawing/2014/main" id="{61D20C0E-1BA8-4052-1FE9-A8537162CB5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12342" y="3342273"/>
            <a:ext cx="2655093" cy="13586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000"/>
            </a:lvl1pPr>
          </a:lstStyle>
          <a:p>
            <a:pPr lvl="0"/>
            <a:endParaRPr lang="en-GB"/>
          </a:p>
        </p:txBody>
      </p:sp>
      <p:sp>
        <p:nvSpPr>
          <p:cNvPr id="52" name="Text Placeholder 48">
            <a:extLst>
              <a:ext uri="{FF2B5EF4-FFF2-40B4-BE49-F238E27FC236}">
                <a16:creationId xmlns:a16="http://schemas.microsoft.com/office/drawing/2014/main" id="{9548F18D-95F3-754D-3A1B-CD284C8BCE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099684" y="3342273"/>
            <a:ext cx="2655093" cy="13586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000"/>
            </a:lvl1pPr>
          </a:lstStyle>
          <a:p>
            <a:pPr lvl="0"/>
            <a:endParaRPr lang="en-GB"/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7E770616-740C-A9CC-F8C0-6FF70E46F63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46400" y="2741141"/>
            <a:ext cx="2049198" cy="36247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67" b="1">
                <a:solidFill>
                  <a:schemeClr val="accent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59" name="Text Placeholder 57">
            <a:extLst>
              <a:ext uri="{FF2B5EF4-FFF2-40B4-BE49-F238E27FC236}">
                <a16:creationId xmlns:a16="http://schemas.microsoft.com/office/drawing/2014/main" id="{27CA43E4-149E-13E4-FEE1-4AD27320D6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632019" y="2741141"/>
            <a:ext cx="2049198" cy="36247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67" b="1">
                <a:solidFill>
                  <a:schemeClr val="accent2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60" name="Text Placeholder 57">
            <a:extLst>
              <a:ext uri="{FF2B5EF4-FFF2-40B4-BE49-F238E27FC236}">
                <a16:creationId xmlns:a16="http://schemas.microsoft.com/office/drawing/2014/main" id="{1996E783-F3DA-F630-C53A-A0D652AE651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15289" y="2740596"/>
            <a:ext cx="2049198" cy="36247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67" b="1">
                <a:solidFill>
                  <a:schemeClr val="accent3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61" name="Text Placeholder 57">
            <a:extLst>
              <a:ext uri="{FF2B5EF4-FFF2-40B4-BE49-F238E27FC236}">
                <a16:creationId xmlns:a16="http://schemas.microsoft.com/office/drawing/2014/main" id="{5F43A95F-B1B7-A667-6BA3-1E345710DE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01969" y="2745076"/>
            <a:ext cx="2049198" cy="36247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67" b="1">
                <a:solidFill>
                  <a:schemeClr val="accent4"/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601169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come slide_alt layout 4_2 it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5E652EA-AC7C-713B-5738-2059F92473C0}"/>
              </a:ext>
            </a:extLst>
          </p:cNvPr>
          <p:cNvSpPr/>
          <p:nvPr userDrawn="1"/>
        </p:nvSpPr>
        <p:spPr>
          <a:xfrm>
            <a:off x="1710657" y="2017344"/>
            <a:ext cx="4050267" cy="37322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61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C7E974A-6CD2-0DD0-418C-024FCFF8F8DE}"/>
              </a:ext>
            </a:extLst>
          </p:cNvPr>
          <p:cNvSpPr/>
          <p:nvPr userDrawn="1"/>
        </p:nvSpPr>
        <p:spPr>
          <a:xfrm>
            <a:off x="6392883" y="2017344"/>
            <a:ext cx="4050267" cy="37322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61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FCDB002-D4B9-C2D9-0B89-DF6F23590590}"/>
              </a:ext>
            </a:extLst>
          </p:cNvPr>
          <p:cNvGrpSpPr/>
          <p:nvPr userDrawn="1"/>
        </p:nvGrpSpPr>
        <p:grpSpPr>
          <a:xfrm>
            <a:off x="3504768" y="2106797"/>
            <a:ext cx="456008" cy="438597"/>
            <a:chOff x="522910" y="4685520"/>
            <a:chExt cx="441366" cy="441366"/>
          </a:xfrm>
        </p:grpSpPr>
        <p:pic>
          <p:nvPicPr>
            <p:cNvPr id="14" name="Graphic 68">
              <a:extLst>
                <a:ext uri="{FF2B5EF4-FFF2-40B4-BE49-F238E27FC236}">
                  <a16:creationId xmlns:a16="http://schemas.microsoft.com/office/drawing/2014/main" id="{8852EDE3-04BF-F1AA-7091-C417DA141A6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522910" y="4685520"/>
              <a:ext cx="441366" cy="441366"/>
            </a:xfrm>
            <a:prstGeom prst="rect">
              <a:avLst/>
            </a:prstGeom>
          </p:spPr>
        </p:pic>
        <p:sp>
          <p:nvSpPr>
            <p:cNvPr id="15" name="Content Placeholder 2">
              <a:extLst>
                <a:ext uri="{FF2B5EF4-FFF2-40B4-BE49-F238E27FC236}">
                  <a16:creationId xmlns:a16="http://schemas.microsoft.com/office/drawing/2014/main" id="{43A06C49-DDA3-C595-FDAC-A1A6A42CAC0B}"/>
                </a:ext>
              </a:extLst>
            </p:cNvPr>
            <p:cNvSpPr txBox="1">
              <a:spLocks/>
            </p:cNvSpPr>
            <p:nvPr/>
          </p:nvSpPr>
          <p:spPr>
            <a:xfrm>
              <a:off x="595041" y="4685520"/>
              <a:ext cx="249382" cy="441366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>
              <a:lvl1pPr marL="0" indent="0" algn="l" defTabSz="1097280" rtl="0" eaLnBrk="1" latinLnBrk="0" hangingPunct="1">
                <a:lnSpc>
                  <a:spcPct val="100000"/>
                </a:lnSpc>
                <a:spcBef>
                  <a:spcPts val="1800"/>
                </a:spcBef>
                <a:buFont typeface="Arial" panose="020B0604020202020204" pitchFamily="34" charset="0"/>
                <a:buNone/>
                <a:defRPr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1097280" rtl="0" eaLnBrk="1" latinLnBrk="0" hangingPunct="1">
                <a:lnSpc>
                  <a:spcPct val="100000"/>
                </a:lnSpc>
                <a:spcBef>
                  <a:spcPts val="12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3360" indent="-213360" algn="l" defTabSz="109728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24816" indent="-211456" algn="l" defTabSz="109728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2788" indent="-266700" algn="l" defTabSz="109728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9728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13360" indent="-213360" algn="l" defTabSz="109728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4816" indent="-211456" algn="l" defTabSz="109728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‒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1097280" rtl="0" eaLnBrk="1" latinLnBrk="0" hangingPunct="1">
                <a:lnSpc>
                  <a:spcPct val="100000"/>
                </a:lnSpc>
                <a:spcBef>
                  <a:spcPts val="2160"/>
                </a:spcBef>
                <a:buFont typeface="Arial" panose="020B0604020202020204" pitchFamily="34" charset="0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2332" algn="ctr"/>
              <a:r>
                <a:rPr lang="en-US" sz="1500" b="0">
                  <a:solidFill>
                    <a:schemeClr val="accent1"/>
                  </a:solidFill>
                </a:rPr>
                <a:t>1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806E7A75-377C-97D8-9E02-51253C7515BB}"/>
              </a:ext>
            </a:extLst>
          </p:cNvPr>
          <p:cNvGrpSpPr/>
          <p:nvPr userDrawn="1"/>
        </p:nvGrpSpPr>
        <p:grpSpPr>
          <a:xfrm>
            <a:off x="8185994" y="2106797"/>
            <a:ext cx="457762" cy="438597"/>
            <a:chOff x="522910" y="4685520"/>
            <a:chExt cx="441366" cy="441366"/>
          </a:xfrm>
        </p:grpSpPr>
        <p:pic>
          <p:nvPicPr>
            <p:cNvPr id="28" name="Graphic 73">
              <a:extLst>
                <a:ext uri="{FF2B5EF4-FFF2-40B4-BE49-F238E27FC236}">
                  <a16:creationId xmlns:a16="http://schemas.microsoft.com/office/drawing/2014/main" id="{51B4F6A3-7254-FB72-CFEC-6DD12487C75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22910" y="4685520"/>
              <a:ext cx="441366" cy="441366"/>
            </a:xfrm>
            <a:prstGeom prst="rect">
              <a:avLst/>
            </a:prstGeom>
          </p:spPr>
        </p:pic>
        <p:sp>
          <p:nvSpPr>
            <p:cNvPr id="29" name="Content Placeholder 2">
              <a:extLst>
                <a:ext uri="{FF2B5EF4-FFF2-40B4-BE49-F238E27FC236}">
                  <a16:creationId xmlns:a16="http://schemas.microsoft.com/office/drawing/2014/main" id="{C93A0733-9C67-FF41-5EA1-2BC1DA7FF3B3}"/>
                </a:ext>
              </a:extLst>
            </p:cNvPr>
            <p:cNvSpPr txBox="1">
              <a:spLocks/>
            </p:cNvSpPr>
            <p:nvPr/>
          </p:nvSpPr>
          <p:spPr>
            <a:xfrm>
              <a:off x="597583" y="4685520"/>
              <a:ext cx="249382" cy="441366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>
              <a:lvl1pPr marL="0" indent="0" algn="l" defTabSz="1097280" rtl="0" eaLnBrk="1" latinLnBrk="0" hangingPunct="1">
                <a:lnSpc>
                  <a:spcPct val="100000"/>
                </a:lnSpc>
                <a:spcBef>
                  <a:spcPts val="1800"/>
                </a:spcBef>
                <a:buFont typeface="Arial" panose="020B0604020202020204" pitchFamily="34" charset="0"/>
                <a:buNone/>
                <a:defRPr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1097280" rtl="0" eaLnBrk="1" latinLnBrk="0" hangingPunct="1">
                <a:lnSpc>
                  <a:spcPct val="100000"/>
                </a:lnSpc>
                <a:spcBef>
                  <a:spcPts val="12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3360" indent="-213360" algn="l" defTabSz="109728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24816" indent="-211456" algn="l" defTabSz="109728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2788" indent="-266700" algn="l" defTabSz="109728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9728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13360" indent="-213360" algn="l" defTabSz="109728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4816" indent="-211456" algn="l" defTabSz="109728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‒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1097280" rtl="0" eaLnBrk="1" latinLnBrk="0" hangingPunct="1">
                <a:lnSpc>
                  <a:spcPct val="100000"/>
                </a:lnSpc>
                <a:spcBef>
                  <a:spcPts val="2160"/>
                </a:spcBef>
                <a:buFont typeface="Arial" panose="020B0604020202020204" pitchFamily="34" charset="0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2332" algn="ctr"/>
              <a:r>
                <a:rPr lang="en-US" sz="1500" b="0">
                  <a:solidFill>
                    <a:schemeClr val="accent2"/>
                  </a:solidFill>
                </a:rPr>
                <a:t>2</a:t>
              </a:r>
            </a:p>
          </p:txBody>
        </p:sp>
      </p:grpSp>
      <p:sp>
        <p:nvSpPr>
          <p:cNvPr id="42" name="Title 22">
            <a:extLst>
              <a:ext uri="{FF2B5EF4-FFF2-40B4-BE49-F238E27FC236}">
                <a16:creationId xmlns:a16="http://schemas.microsoft.com/office/drawing/2014/main" id="{32E50A9E-3E6D-5F0C-795B-60174EF80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53" y="399899"/>
            <a:ext cx="11400896" cy="864810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25DB1F4F-B98F-09A5-F253-A144A48267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2292" y="3202998"/>
            <a:ext cx="3926997" cy="169770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000"/>
            </a:lvl1pPr>
          </a:lstStyle>
          <a:p>
            <a:pPr lvl="0"/>
            <a:endParaRPr lang="en-GB"/>
          </a:p>
        </p:txBody>
      </p:sp>
      <p:sp>
        <p:nvSpPr>
          <p:cNvPr id="50" name="Text Placeholder 48">
            <a:extLst>
              <a:ext uri="{FF2B5EF4-FFF2-40B4-BE49-F238E27FC236}">
                <a16:creationId xmlns:a16="http://schemas.microsoft.com/office/drawing/2014/main" id="{B83E3DAE-A539-8AFD-3CF1-3E55D5056D5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6970" y="3205288"/>
            <a:ext cx="3942093" cy="16977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000"/>
            </a:lvl1pPr>
          </a:lstStyle>
          <a:p>
            <a:pPr lvl="0"/>
            <a:endParaRPr lang="en-GB"/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7E770616-740C-A9CC-F8C0-6FF70E46F63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220364" y="2634847"/>
            <a:ext cx="3030853" cy="45294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67" b="1">
                <a:solidFill>
                  <a:schemeClr val="accent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59" name="Text Placeholder 57">
            <a:extLst>
              <a:ext uri="{FF2B5EF4-FFF2-40B4-BE49-F238E27FC236}">
                <a16:creationId xmlns:a16="http://schemas.microsoft.com/office/drawing/2014/main" id="{27CA43E4-149E-13E4-FEE1-4AD27320D6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96765" y="2645542"/>
            <a:ext cx="3042503" cy="45294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67" b="1">
                <a:solidFill>
                  <a:schemeClr val="accent2"/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925254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come slide_alt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5">
            <a:extLst>
              <a:ext uri="{FF2B5EF4-FFF2-40B4-BE49-F238E27FC236}">
                <a16:creationId xmlns:a16="http://schemas.microsoft.com/office/drawing/2014/main" id="{5F2421CB-9CB9-1A52-9406-A1B97527BF46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556806161"/>
              </p:ext>
            </p:extLst>
          </p:nvPr>
        </p:nvGraphicFramePr>
        <p:xfrm>
          <a:off x="395553" y="2006441"/>
          <a:ext cx="11400896" cy="39845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14018">
                  <a:extLst>
                    <a:ext uri="{9D8B030D-6E8A-4147-A177-3AD203B41FA5}">
                      <a16:colId xmlns:a16="http://schemas.microsoft.com/office/drawing/2014/main" val="347731173"/>
                    </a:ext>
                  </a:extLst>
                </a:gridCol>
                <a:gridCol w="5686878">
                  <a:extLst>
                    <a:ext uri="{9D8B030D-6E8A-4147-A177-3AD203B41FA5}">
                      <a16:colId xmlns:a16="http://schemas.microsoft.com/office/drawing/2014/main" val="1241344891"/>
                    </a:ext>
                  </a:extLst>
                </a:gridCol>
              </a:tblGrid>
              <a:tr h="327565">
                <a:tc>
                  <a:txBody>
                    <a:bodyPr/>
                    <a:lstStyle/>
                    <a:p>
                      <a:pPr algn="ctr"/>
                      <a:endParaRPr lang="en-US" sz="1300">
                        <a:solidFill>
                          <a:schemeClr val="bg1"/>
                        </a:solidFill>
                      </a:endParaRPr>
                    </a:p>
                  </a:txBody>
                  <a:tcPr marL="76200" marR="76200" marT="38100" marB="381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>
                        <a:solidFill>
                          <a:schemeClr val="bg1"/>
                        </a:solidFill>
                      </a:endParaRPr>
                    </a:p>
                  </a:txBody>
                  <a:tcPr marL="76200" marR="76200" marT="38100" marB="381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5215030"/>
                  </a:ext>
                </a:extLst>
              </a:tr>
              <a:tr h="3656990">
                <a:tc>
                  <a:txBody>
                    <a:bodyPr/>
                    <a:lstStyle/>
                    <a:p>
                      <a:pPr marL="171450" indent="-171450">
                        <a:lnSpc>
                          <a:spcPts val="1680"/>
                        </a:lnSpc>
                        <a:buFont typeface="Arial" panose="020B0604020202020204" pitchFamily="34" charset="0"/>
                        <a:buChar char="•"/>
                      </a:pPr>
                      <a:endParaRPr lang="en-IN" sz="1000" b="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28600" marR="304800" marT="152400" marB="15240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87" rtl="0" eaLnBrk="1" fontAlgn="auto" latinLnBrk="0" hangingPunct="1">
                        <a:lnSpc>
                          <a:spcPts val="168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2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b="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28600" marR="304800" marT="152400" marB="1524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8896275"/>
                  </a:ext>
                </a:extLst>
              </a:tr>
            </a:tbl>
          </a:graphicData>
        </a:graphic>
      </p:graphicFrame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8286578B-EA1C-CA39-9078-7F68F011795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95552" y="2012682"/>
            <a:ext cx="5700448" cy="31985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3"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404D464A-9537-F493-B08B-8446F204DD0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64676" y="2466231"/>
            <a:ext cx="5549222" cy="3574958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933676A-0F6B-4D69-83B7-41D306900A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6778" y="2466231"/>
            <a:ext cx="5549222" cy="3574958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endParaRPr lang="en-GB"/>
          </a:p>
        </p:txBody>
      </p:sp>
      <p:pic>
        <p:nvPicPr>
          <p:cNvPr id="4" name="Graphic 24">
            <a:extLst>
              <a:ext uri="{FF2B5EF4-FFF2-40B4-BE49-F238E27FC236}">
                <a16:creationId xmlns:a16="http://schemas.microsoft.com/office/drawing/2014/main" id="{84AB094B-0B30-D61A-D093-D25AFD52DF6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3007634" y="1461851"/>
            <a:ext cx="503802" cy="503802"/>
          </a:xfrm>
          <a:prstGeom prst="rect">
            <a:avLst/>
          </a:prstGeom>
        </p:spPr>
      </p:pic>
      <p:pic>
        <p:nvPicPr>
          <p:cNvPr id="5" name="Graphic 224">
            <a:extLst>
              <a:ext uri="{FF2B5EF4-FFF2-40B4-BE49-F238E27FC236}">
                <a16:creationId xmlns:a16="http://schemas.microsoft.com/office/drawing/2014/main" id="{153BC745-53CB-8584-6487-F994C866396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728532" y="1455226"/>
            <a:ext cx="503802" cy="503802"/>
          </a:xfrm>
          <a:prstGeom prst="rect">
            <a:avLst/>
          </a:prstGeom>
        </p:spPr>
      </p:pic>
      <p:sp>
        <p:nvSpPr>
          <p:cNvPr id="6" name="Title 10">
            <a:extLst>
              <a:ext uri="{FF2B5EF4-FFF2-40B4-BE49-F238E27FC236}">
                <a16:creationId xmlns:a16="http://schemas.microsoft.com/office/drawing/2014/main" id="{9F5DA908-DA16-353D-1D16-329242B0C9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53" y="399899"/>
            <a:ext cx="11400896" cy="864810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DD46148A-83E0-1ADF-329A-BB1F348E1D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30209" y="2012682"/>
            <a:ext cx="5700448" cy="31985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3"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40546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come slide_alt layout 5_edi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011F0290-04A8-65DA-A655-BB30F12536D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787271" y="1455208"/>
            <a:ext cx="504031" cy="5040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33"/>
            </a:lvl1pPr>
          </a:lstStyle>
          <a:p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337D745-7D95-652E-7267-6430380E1B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06990" y="1455208"/>
            <a:ext cx="504031" cy="5040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33"/>
            </a:lvl1pPr>
          </a:lstStyle>
          <a:p>
            <a:endParaRPr lang="en-GB"/>
          </a:p>
        </p:txBody>
      </p:sp>
      <p:graphicFrame>
        <p:nvGraphicFramePr>
          <p:cNvPr id="2" name="Table 5">
            <a:extLst>
              <a:ext uri="{FF2B5EF4-FFF2-40B4-BE49-F238E27FC236}">
                <a16:creationId xmlns:a16="http://schemas.microsoft.com/office/drawing/2014/main" id="{5F2421CB-9CB9-1A52-9406-A1B97527BF46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556806161"/>
              </p:ext>
            </p:extLst>
          </p:nvPr>
        </p:nvGraphicFramePr>
        <p:xfrm>
          <a:off x="395553" y="2006441"/>
          <a:ext cx="11400896" cy="39845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14018">
                  <a:extLst>
                    <a:ext uri="{9D8B030D-6E8A-4147-A177-3AD203B41FA5}">
                      <a16:colId xmlns:a16="http://schemas.microsoft.com/office/drawing/2014/main" val="347731173"/>
                    </a:ext>
                  </a:extLst>
                </a:gridCol>
                <a:gridCol w="5686878">
                  <a:extLst>
                    <a:ext uri="{9D8B030D-6E8A-4147-A177-3AD203B41FA5}">
                      <a16:colId xmlns:a16="http://schemas.microsoft.com/office/drawing/2014/main" val="1241344891"/>
                    </a:ext>
                  </a:extLst>
                </a:gridCol>
              </a:tblGrid>
              <a:tr h="327565">
                <a:tc>
                  <a:txBody>
                    <a:bodyPr/>
                    <a:lstStyle/>
                    <a:p>
                      <a:pPr algn="ctr"/>
                      <a:endParaRPr lang="en-US" sz="1300">
                        <a:solidFill>
                          <a:schemeClr val="bg1"/>
                        </a:solidFill>
                      </a:endParaRPr>
                    </a:p>
                  </a:txBody>
                  <a:tcPr marL="76200" marR="76200" marT="38100" marB="381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>
                        <a:solidFill>
                          <a:schemeClr val="bg1"/>
                        </a:solidFill>
                      </a:endParaRPr>
                    </a:p>
                  </a:txBody>
                  <a:tcPr marL="76200" marR="76200" marT="38100" marB="381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5215030"/>
                  </a:ext>
                </a:extLst>
              </a:tr>
              <a:tr h="3656990">
                <a:tc>
                  <a:txBody>
                    <a:bodyPr/>
                    <a:lstStyle/>
                    <a:p>
                      <a:pPr marL="171450" indent="-171450">
                        <a:lnSpc>
                          <a:spcPts val="1680"/>
                        </a:lnSpc>
                        <a:buFont typeface="Arial" panose="020B0604020202020204" pitchFamily="34" charset="0"/>
                        <a:buChar char="•"/>
                      </a:pPr>
                      <a:endParaRPr lang="en-IN" sz="1000" b="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28600" marR="304800" marT="152400" marB="15240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87" rtl="0" eaLnBrk="1" fontAlgn="auto" latinLnBrk="0" hangingPunct="1">
                        <a:lnSpc>
                          <a:spcPts val="168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2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b="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28600" marR="304800" marT="152400" marB="1524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8896275"/>
                  </a:ext>
                </a:extLst>
              </a:tr>
            </a:tbl>
          </a:graphicData>
        </a:graphic>
      </p:graphicFrame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8286578B-EA1C-CA39-9078-7F68F011795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95552" y="2012682"/>
            <a:ext cx="5700448" cy="31985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3"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404D464A-9537-F493-B08B-8446F204DD0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64676" y="2466231"/>
            <a:ext cx="5549222" cy="3574958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933676A-0F6B-4D69-83B7-41D306900A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6778" y="2466231"/>
            <a:ext cx="5549222" cy="3574958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endParaRPr lang="en-GB"/>
          </a:p>
        </p:txBody>
      </p:sp>
      <p:sp>
        <p:nvSpPr>
          <p:cNvPr id="6" name="Title 10">
            <a:extLst>
              <a:ext uri="{FF2B5EF4-FFF2-40B4-BE49-F238E27FC236}">
                <a16:creationId xmlns:a16="http://schemas.microsoft.com/office/drawing/2014/main" id="{9F5DA908-DA16-353D-1D16-329242B0C9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53" y="399899"/>
            <a:ext cx="11400896" cy="864810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DD46148A-83E0-1ADF-329A-BB1F348E1D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30209" y="2012682"/>
            <a:ext cx="5700448" cy="31985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3"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033053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come slide_alt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B08BDC4-70CC-16CD-E1BF-63D98470A316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727691" y="0"/>
            <a:ext cx="4464309" cy="6858000"/>
          </a:xfrm>
          <a:prstGeom prst="rect">
            <a:avLst/>
          </a:prstGeom>
        </p:spPr>
        <p:txBody>
          <a:bodyPr/>
          <a:lstStyle/>
          <a:p>
            <a:pPr lvl="0"/>
            <a:endParaRPr lang="en-GB"/>
          </a:p>
        </p:txBody>
      </p:sp>
      <p:sp>
        <p:nvSpPr>
          <p:cNvPr id="2" name="Title 88">
            <a:extLst>
              <a:ext uri="{FF2B5EF4-FFF2-40B4-BE49-F238E27FC236}">
                <a16:creationId xmlns:a16="http://schemas.microsoft.com/office/drawing/2014/main" id="{8253331C-8615-4FC4-8C20-CBEF032DA3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53" y="399899"/>
            <a:ext cx="5709973" cy="864810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9B23BD1-29EA-7C9E-0A1D-8AA33C8B498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88822" y="2359618"/>
            <a:ext cx="252283" cy="311643"/>
            <a:chOff x="6610351" y="5387975"/>
            <a:chExt cx="377825" cy="466725"/>
          </a:xfrm>
          <a:solidFill>
            <a:schemeClr val="tx1"/>
          </a:solidFill>
        </p:grpSpPr>
        <p:sp>
          <p:nvSpPr>
            <p:cNvPr id="16" name="Freeform 524">
              <a:extLst>
                <a:ext uri="{FF2B5EF4-FFF2-40B4-BE49-F238E27FC236}">
                  <a16:creationId xmlns:a16="http://schemas.microsoft.com/office/drawing/2014/main" id="{B700C913-3B3B-DC06-EF80-6327DA8DD5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46876" y="5511800"/>
              <a:ext cx="106363" cy="106363"/>
            </a:xfrm>
            <a:custGeom>
              <a:avLst/>
              <a:gdLst>
                <a:gd name="T0" fmla="*/ 91 w 183"/>
                <a:gd name="T1" fmla="*/ 183 h 183"/>
                <a:gd name="T2" fmla="*/ 0 w 183"/>
                <a:gd name="T3" fmla="*/ 91 h 183"/>
                <a:gd name="T4" fmla="*/ 91 w 183"/>
                <a:gd name="T5" fmla="*/ 0 h 183"/>
                <a:gd name="T6" fmla="*/ 183 w 183"/>
                <a:gd name="T7" fmla="*/ 91 h 183"/>
                <a:gd name="T8" fmla="*/ 91 w 183"/>
                <a:gd name="T9" fmla="*/ 183 h 183"/>
                <a:gd name="T10" fmla="*/ 91 w 183"/>
                <a:gd name="T11" fmla="*/ 29 h 183"/>
                <a:gd name="T12" fmla="*/ 29 w 183"/>
                <a:gd name="T13" fmla="*/ 91 h 183"/>
                <a:gd name="T14" fmla="*/ 91 w 183"/>
                <a:gd name="T15" fmla="*/ 154 h 183"/>
                <a:gd name="T16" fmla="*/ 154 w 183"/>
                <a:gd name="T17" fmla="*/ 91 h 183"/>
                <a:gd name="T18" fmla="*/ 91 w 183"/>
                <a:gd name="T19" fmla="*/ 2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3" h="183">
                  <a:moveTo>
                    <a:pt x="91" y="183"/>
                  </a:moveTo>
                  <a:cubicBezTo>
                    <a:pt x="41" y="183"/>
                    <a:pt x="0" y="142"/>
                    <a:pt x="0" y="91"/>
                  </a:cubicBezTo>
                  <a:cubicBezTo>
                    <a:pt x="0" y="41"/>
                    <a:pt x="41" y="0"/>
                    <a:pt x="91" y="0"/>
                  </a:cubicBezTo>
                  <a:cubicBezTo>
                    <a:pt x="142" y="0"/>
                    <a:pt x="183" y="41"/>
                    <a:pt x="183" y="91"/>
                  </a:cubicBezTo>
                  <a:cubicBezTo>
                    <a:pt x="183" y="142"/>
                    <a:pt x="142" y="183"/>
                    <a:pt x="91" y="183"/>
                  </a:cubicBezTo>
                  <a:close/>
                  <a:moveTo>
                    <a:pt x="91" y="29"/>
                  </a:moveTo>
                  <a:cubicBezTo>
                    <a:pt x="57" y="29"/>
                    <a:pt x="29" y="57"/>
                    <a:pt x="29" y="91"/>
                  </a:cubicBezTo>
                  <a:cubicBezTo>
                    <a:pt x="29" y="126"/>
                    <a:pt x="57" y="154"/>
                    <a:pt x="91" y="154"/>
                  </a:cubicBezTo>
                  <a:cubicBezTo>
                    <a:pt x="126" y="154"/>
                    <a:pt x="154" y="126"/>
                    <a:pt x="154" y="91"/>
                  </a:cubicBezTo>
                  <a:cubicBezTo>
                    <a:pt x="154" y="57"/>
                    <a:pt x="126" y="29"/>
                    <a:pt x="91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A2FB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Freeform 525">
              <a:extLst>
                <a:ext uri="{FF2B5EF4-FFF2-40B4-BE49-F238E27FC236}">
                  <a16:creationId xmlns:a16="http://schemas.microsoft.com/office/drawing/2014/main" id="{5BE8A4CF-B137-4D1C-855B-E4316125D2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10351" y="5387975"/>
              <a:ext cx="377825" cy="466725"/>
            </a:xfrm>
            <a:custGeom>
              <a:avLst/>
              <a:gdLst>
                <a:gd name="T0" fmla="*/ 323 w 647"/>
                <a:gd name="T1" fmla="*/ 802 h 802"/>
                <a:gd name="T2" fmla="*/ 315 w 647"/>
                <a:gd name="T3" fmla="*/ 795 h 802"/>
                <a:gd name="T4" fmla="*/ 158 w 647"/>
                <a:gd name="T5" fmla="*/ 646 h 802"/>
                <a:gd name="T6" fmla="*/ 50 w 647"/>
                <a:gd name="T7" fmla="*/ 495 h 802"/>
                <a:gd name="T8" fmla="*/ 0 w 647"/>
                <a:gd name="T9" fmla="*/ 321 h 802"/>
                <a:gd name="T10" fmla="*/ 98 w 647"/>
                <a:gd name="T11" fmla="*/ 94 h 802"/>
                <a:gd name="T12" fmla="*/ 323 w 647"/>
                <a:gd name="T13" fmla="*/ 0 h 802"/>
                <a:gd name="T14" fmla="*/ 324 w 647"/>
                <a:gd name="T15" fmla="*/ 0 h 802"/>
                <a:gd name="T16" fmla="*/ 549 w 647"/>
                <a:gd name="T17" fmla="*/ 94 h 802"/>
                <a:gd name="T18" fmla="*/ 647 w 647"/>
                <a:gd name="T19" fmla="*/ 321 h 802"/>
                <a:gd name="T20" fmla="*/ 597 w 647"/>
                <a:gd name="T21" fmla="*/ 495 h 802"/>
                <a:gd name="T22" fmla="*/ 489 w 647"/>
                <a:gd name="T23" fmla="*/ 646 h 802"/>
                <a:gd name="T24" fmla="*/ 332 w 647"/>
                <a:gd name="T25" fmla="*/ 795 h 802"/>
                <a:gd name="T26" fmla="*/ 323 w 647"/>
                <a:gd name="T27" fmla="*/ 802 h 802"/>
                <a:gd name="T28" fmla="*/ 323 w 647"/>
                <a:gd name="T29" fmla="*/ 29 h 802"/>
                <a:gd name="T30" fmla="*/ 118 w 647"/>
                <a:gd name="T31" fmla="*/ 115 h 802"/>
                <a:gd name="T32" fmla="*/ 54 w 647"/>
                <a:gd name="T33" fmla="*/ 197 h 802"/>
                <a:gd name="T34" fmla="*/ 29 w 647"/>
                <a:gd name="T35" fmla="*/ 321 h 802"/>
                <a:gd name="T36" fmla="*/ 76 w 647"/>
                <a:gd name="T37" fmla="*/ 481 h 802"/>
                <a:gd name="T38" fmla="*/ 180 w 647"/>
                <a:gd name="T39" fmla="*/ 627 h 802"/>
                <a:gd name="T40" fmla="*/ 323 w 647"/>
                <a:gd name="T41" fmla="*/ 765 h 802"/>
                <a:gd name="T42" fmla="*/ 467 w 647"/>
                <a:gd name="T43" fmla="*/ 627 h 802"/>
                <a:gd name="T44" fmla="*/ 571 w 647"/>
                <a:gd name="T45" fmla="*/ 481 h 802"/>
                <a:gd name="T46" fmla="*/ 618 w 647"/>
                <a:gd name="T47" fmla="*/ 321 h 802"/>
                <a:gd name="T48" fmla="*/ 593 w 647"/>
                <a:gd name="T49" fmla="*/ 197 h 802"/>
                <a:gd name="T50" fmla="*/ 529 w 647"/>
                <a:gd name="T51" fmla="*/ 115 h 802"/>
                <a:gd name="T52" fmla="*/ 324 w 647"/>
                <a:gd name="T53" fmla="*/ 29 h 802"/>
                <a:gd name="T54" fmla="*/ 323 w 647"/>
                <a:gd name="T55" fmla="*/ 29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47" h="802">
                  <a:moveTo>
                    <a:pt x="323" y="802"/>
                  </a:moveTo>
                  <a:cubicBezTo>
                    <a:pt x="315" y="795"/>
                    <a:pt x="315" y="795"/>
                    <a:pt x="315" y="795"/>
                  </a:cubicBezTo>
                  <a:cubicBezTo>
                    <a:pt x="311" y="793"/>
                    <a:pt x="236" y="734"/>
                    <a:pt x="158" y="646"/>
                  </a:cubicBezTo>
                  <a:cubicBezTo>
                    <a:pt x="113" y="595"/>
                    <a:pt x="76" y="544"/>
                    <a:pt x="50" y="495"/>
                  </a:cubicBezTo>
                  <a:cubicBezTo>
                    <a:pt x="17" y="433"/>
                    <a:pt x="0" y="375"/>
                    <a:pt x="0" y="321"/>
                  </a:cubicBezTo>
                  <a:cubicBezTo>
                    <a:pt x="0" y="203"/>
                    <a:pt x="41" y="153"/>
                    <a:pt x="98" y="94"/>
                  </a:cubicBezTo>
                  <a:cubicBezTo>
                    <a:pt x="156" y="34"/>
                    <a:pt x="239" y="0"/>
                    <a:pt x="323" y="0"/>
                  </a:cubicBezTo>
                  <a:cubicBezTo>
                    <a:pt x="324" y="0"/>
                    <a:pt x="324" y="0"/>
                    <a:pt x="324" y="0"/>
                  </a:cubicBezTo>
                  <a:cubicBezTo>
                    <a:pt x="408" y="0"/>
                    <a:pt x="491" y="34"/>
                    <a:pt x="549" y="94"/>
                  </a:cubicBezTo>
                  <a:cubicBezTo>
                    <a:pt x="606" y="153"/>
                    <a:pt x="647" y="203"/>
                    <a:pt x="647" y="321"/>
                  </a:cubicBezTo>
                  <a:cubicBezTo>
                    <a:pt x="647" y="375"/>
                    <a:pt x="630" y="433"/>
                    <a:pt x="597" y="495"/>
                  </a:cubicBezTo>
                  <a:cubicBezTo>
                    <a:pt x="571" y="544"/>
                    <a:pt x="534" y="595"/>
                    <a:pt x="489" y="646"/>
                  </a:cubicBezTo>
                  <a:cubicBezTo>
                    <a:pt x="411" y="734"/>
                    <a:pt x="336" y="793"/>
                    <a:pt x="332" y="795"/>
                  </a:cubicBezTo>
                  <a:lnTo>
                    <a:pt x="323" y="802"/>
                  </a:lnTo>
                  <a:close/>
                  <a:moveTo>
                    <a:pt x="323" y="29"/>
                  </a:moveTo>
                  <a:cubicBezTo>
                    <a:pt x="246" y="29"/>
                    <a:pt x="172" y="60"/>
                    <a:pt x="118" y="115"/>
                  </a:cubicBezTo>
                  <a:cubicBezTo>
                    <a:pt x="93" y="140"/>
                    <a:pt x="70" y="165"/>
                    <a:pt x="54" y="197"/>
                  </a:cubicBezTo>
                  <a:cubicBezTo>
                    <a:pt x="37" y="231"/>
                    <a:pt x="29" y="270"/>
                    <a:pt x="29" y="321"/>
                  </a:cubicBezTo>
                  <a:cubicBezTo>
                    <a:pt x="29" y="370"/>
                    <a:pt x="45" y="424"/>
                    <a:pt x="76" y="481"/>
                  </a:cubicBezTo>
                  <a:cubicBezTo>
                    <a:pt x="101" y="528"/>
                    <a:pt x="136" y="577"/>
                    <a:pt x="180" y="627"/>
                  </a:cubicBezTo>
                  <a:cubicBezTo>
                    <a:pt x="240" y="696"/>
                    <a:pt x="301" y="747"/>
                    <a:pt x="323" y="765"/>
                  </a:cubicBezTo>
                  <a:cubicBezTo>
                    <a:pt x="346" y="747"/>
                    <a:pt x="407" y="695"/>
                    <a:pt x="467" y="627"/>
                  </a:cubicBezTo>
                  <a:cubicBezTo>
                    <a:pt x="511" y="577"/>
                    <a:pt x="546" y="528"/>
                    <a:pt x="571" y="481"/>
                  </a:cubicBezTo>
                  <a:cubicBezTo>
                    <a:pt x="602" y="424"/>
                    <a:pt x="618" y="370"/>
                    <a:pt x="618" y="321"/>
                  </a:cubicBezTo>
                  <a:cubicBezTo>
                    <a:pt x="618" y="270"/>
                    <a:pt x="610" y="231"/>
                    <a:pt x="593" y="197"/>
                  </a:cubicBezTo>
                  <a:cubicBezTo>
                    <a:pt x="577" y="165"/>
                    <a:pt x="554" y="140"/>
                    <a:pt x="529" y="115"/>
                  </a:cubicBezTo>
                  <a:cubicBezTo>
                    <a:pt x="475" y="60"/>
                    <a:pt x="401" y="29"/>
                    <a:pt x="324" y="29"/>
                  </a:cubicBezTo>
                  <a:lnTo>
                    <a:pt x="323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A2FB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526">
              <a:extLst>
                <a:ext uri="{FF2B5EF4-FFF2-40B4-BE49-F238E27FC236}">
                  <a16:creationId xmlns:a16="http://schemas.microsoft.com/office/drawing/2014/main" id="{79F82D22-A024-6669-B78F-124F3A2502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56388" y="5432425"/>
              <a:ext cx="285750" cy="355600"/>
            </a:xfrm>
            <a:custGeom>
              <a:avLst/>
              <a:gdLst>
                <a:gd name="T0" fmla="*/ 245 w 491"/>
                <a:gd name="T1" fmla="*/ 609 h 609"/>
                <a:gd name="T2" fmla="*/ 238 w 491"/>
                <a:gd name="T3" fmla="*/ 604 h 609"/>
                <a:gd name="T4" fmla="*/ 119 w 491"/>
                <a:gd name="T5" fmla="*/ 502 h 609"/>
                <a:gd name="T6" fmla="*/ 38 w 491"/>
                <a:gd name="T7" fmla="*/ 389 h 609"/>
                <a:gd name="T8" fmla="*/ 0 w 491"/>
                <a:gd name="T9" fmla="*/ 245 h 609"/>
                <a:gd name="T10" fmla="*/ 73 w 491"/>
                <a:gd name="T11" fmla="*/ 76 h 609"/>
                <a:gd name="T12" fmla="*/ 245 w 491"/>
                <a:gd name="T13" fmla="*/ 0 h 609"/>
                <a:gd name="T14" fmla="*/ 418 w 491"/>
                <a:gd name="T15" fmla="*/ 76 h 609"/>
                <a:gd name="T16" fmla="*/ 491 w 491"/>
                <a:gd name="T17" fmla="*/ 245 h 609"/>
                <a:gd name="T18" fmla="*/ 453 w 491"/>
                <a:gd name="T19" fmla="*/ 389 h 609"/>
                <a:gd name="T20" fmla="*/ 371 w 491"/>
                <a:gd name="T21" fmla="*/ 502 h 609"/>
                <a:gd name="T22" fmla="*/ 253 w 491"/>
                <a:gd name="T23" fmla="*/ 604 h 609"/>
                <a:gd name="T24" fmla="*/ 245 w 491"/>
                <a:gd name="T25" fmla="*/ 609 h 609"/>
                <a:gd name="T26" fmla="*/ 245 w 491"/>
                <a:gd name="T27" fmla="*/ 29 h 609"/>
                <a:gd name="T28" fmla="*/ 94 w 491"/>
                <a:gd name="T29" fmla="*/ 96 h 609"/>
                <a:gd name="T30" fmla="*/ 29 w 491"/>
                <a:gd name="T31" fmla="*/ 245 h 609"/>
                <a:gd name="T32" fmla="*/ 63 w 491"/>
                <a:gd name="T33" fmla="*/ 375 h 609"/>
                <a:gd name="T34" fmla="*/ 140 w 491"/>
                <a:gd name="T35" fmla="*/ 482 h 609"/>
                <a:gd name="T36" fmla="*/ 245 w 491"/>
                <a:gd name="T37" fmla="*/ 574 h 609"/>
                <a:gd name="T38" fmla="*/ 351 w 491"/>
                <a:gd name="T39" fmla="*/ 482 h 609"/>
                <a:gd name="T40" fmla="*/ 428 w 491"/>
                <a:gd name="T41" fmla="*/ 375 h 609"/>
                <a:gd name="T42" fmla="*/ 462 w 491"/>
                <a:gd name="T43" fmla="*/ 245 h 609"/>
                <a:gd name="T44" fmla="*/ 397 w 491"/>
                <a:gd name="T45" fmla="*/ 96 h 609"/>
                <a:gd name="T46" fmla="*/ 245 w 491"/>
                <a:gd name="T47" fmla="*/ 29 h 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91" h="609">
                  <a:moveTo>
                    <a:pt x="245" y="609"/>
                  </a:moveTo>
                  <a:cubicBezTo>
                    <a:pt x="238" y="604"/>
                    <a:pt x="238" y="604"/>
                    <a:pt x="238" y="604"/>
                  </a:cubicBezTo>
                  <a:cubicBezTo>
                    <a:pt x="235" y="602"/>
                    <a:pt x="178" y="564"/>
                    <a:pt x="119" y="502"/>
                  </a:cubicBezTo>
                  <a:cubicBezTo>
                    <a:pt x="85" y="465"/>
                    <a:pt x="58" y="427"/>
                    <a:pt x="38" y="389"/>
                  </a:cubicBezTo>
                  <a:cubicBezTo>
                    <a:pt x="13" y="341"/>
                    <a:pt x="0" y="292"/>
                    <a:pt x="0" y="245"/>
                  </a:cubicBezTo>
                  <a:cubicBezTo>
                    <a:pt x="0" y="185"/>
                    <a:pt x="27" y="124"/>
                    <a:pt x="73" y="76"/>
                  </a:cubicBezTo>
                  <a:cubicBezTo>
                    <a:pt x="121" y="28"/>
                    <a:pt x="184" y="0"/>
                    <a:pt x="245" y="0"/>
                  </a:cubicBezTo>
                  <a:cubicBezTo>
                    <a:pt x="307" y="0"/>
                    <a:pt x="370" y="28"/>
                    <a:pt x="418" y="76"/>
                  </a:cubicBezTo>
                  <a:cubicBezTo>
                    <a:pt x="464" y="124"/>
                    <a:pt x="491" y="185"/>
                    <a:pt x="491" y="245"/>
                  </a:cubicBezTo>
                  <a:cubicBezTo>
                    <a:pt x="491" y="292"/>
                    <a:pt x="478" y="341"/>
                    <a:pt x="453" y="389"/>
                  </a:cubicBezTo>
                  <a:cubicBezTo>
                    <a:pt x="433" y="427"/>
                    <a:pt x="406" y="465"/>
                    <a:pt x="371" y="502"/>
                  </a:cubicBezTo>
                  <a:cubicBezTo>
                    <a:pt x="313" y="564"/>
                    <a:pt x="256" y="602"/>
                    <a:pt x="253" y="604"/>
                  </a:cubicBezTo>
                  <a:lnTo>
                    <a:pt x="245" y="609"/>
                  </a:lnTo>
                  <a:close/>
                  <a:moveTo>
                    <a:pt x="245" y="29"/>
                  </a:moveTo>
                  <a:cubicBezTo>
                    <a:pt x="191" y="29"/>
                    <a:pt x="136" y="53"/>
                    <a:pt x="94" y="96"/>
                  </a:cubicBezTo>
                  <a:cubicBezTo>
                    <a:pt x="53" y="139"/>
                    <a:pt x="29" y="193"/>
                    <a:pt x="29" y="245"/>
                  </a:cubicBezTo>
                  <a:cubicBezTo>
                    <a:pt x="29" y="287"/>
                    <a:pt x="41" y="331"/>
                    <a:pt x="63" y="375"/>
                  </a:cubicBezTo>
                  <a:cubicBezTo>
                    <a:pt x="82" y="411"/>
                    <a:pt x="108" y="447"/>
                    <a:pt x="140" y="482"/>
                  </a:cubicBezTo>
                  <a:cubicBezTo>
                    <a:pt x="184" y="529"/>
                    <a:pt x="228" y="562"/>
                    <a:pt x="245" y="574"/>
                  </a:cubicBezTo>
                  <a:cubicBezTo>
                    <a:pt x="263" y="562"/>
                    <a:pt x="307" y="529"/>
                    <a:pt x="351" y="482"/>
                  </a:cubicBezTo>
                  <a:cubicBezTo>
                    <a:pt x="383" y="447"/>
                    <a:pt x="409" y="411"/>
                    <a:pt x="428" y="375"/>
                  </a:cubicBezTo>
                  <a:cubicBezTo>
                    <a:pt x="450" y="331"/>
                    <a:pt x="462" y="287"/>
                    <a:pt x="462" y="245"/>
                  </a:cubicBezTo>
                  <a:cubicBezTo>
                    <a:pt x="462" y="193"/>
                    <a:pt x="438" y="139"/>
                    <a:pt x="397" y="96"/>
                  </a:cubicBezTo>
                  <a:cubicBezTo>
                    <a:pt x="355" y="53"/>
                    <a:pt x="300" y="29"/>
                    <a:pt x="245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A2FB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E3837988-928F-268B-362E-AA699832266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066551" y="2367154"/>
            <a:ext cx="311643" cy="310583"/>
            <a:chOff x="5668963" y="4491038"/>
            <a:chExt cx="466725" cy="465138"/>
          </a:xfrm>
          <a:solidFill>
            <a:schemeClr val="tx1"/>
          </a:solidFill>
        </p:grpSpPr>
        <p:sp>
          <p:nvSpPr>
            <p:cNvPr id="20" name="Line 461">
              <a:extLst>
                <a:ext uri="{FF2B5EF4-FFF2-40B4-BE49-F238E27FC236}">
                  <a16:creationId xmlns:a16="http://schemas.microsoft.com/office/drawing/2014/main" id="{85FAC09A-CECA-C564-2007-95E3CD804CC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97576" y="4813300"/>
              <a:ext cx="0" cy="0"/>
            </a:xfrm>
            <a:prstGeom prst="line">
              <a:avLst/>
            </a:prstGeom>
            <a:grpFill/>
            <a:ln w="17463" cap="flat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A2FB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Line 462">
              <a:extLst>
                <a:ext uri="{FF2B5EF4-FFF2-40B4-BE49-F238E27FC236}">
                  <a16:creationId xmlns:a16="http://schemas.microsoft.com/office/drawing/2014/main" id="{C655CF7B-0E62-ECE9-8330-E688737BC60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97576" y="4813300"/>
              <a:ext cx="0" cy="0"/>
            </a:xfrm>
            <a:prstGeom prst="line">
              <a:avLst/>
            </a:prstGeom>
            <a:grpFill/>
            <a:ln w="17463" cap="flat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A2FB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Line 463">
              <a:extLst>
                <a:ext uri="{FF2B5EF4-FFF2-40B4-BE49-F238E27FC236}">
                  <a16:creationId xmlns:a16="http://schemas.microsoft.com/office/drawing/2014/main" id="{96413366-1BE6-ADE3-6C84-39FFAE0A0B7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97576" y="4813300"/>
              <a:ext cx="0" cy="0"/>
            </a:xfrm>
            <a:prstGeom prst="line">
              <a:avLst/>
            </a:prstGeom>
            <a:grpFill/>
            <a:ln w="17463" cap="flat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A2FB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Line 464">
              <a:extLst>
                <a:ext uri="{FF2B5EF4-FFF2-40B4-BE49-F238E27FC236}">
                  <a16:creationId xmlns:a16="http://schemas.microsoft.com/office/drawing/2014/main" id="{15220904-0823-2346-9D10-3996CEE50DE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97576" y="4813300"/>
              <a:ext cx="0" cy="0"/>
            </a:xfrm>
            <a:prstGeom prst="line">
              <a:avLst/>
            </a:prstGeom>
            <a:grpFill/>
            <a:ln w="17463" cap="flat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A2FB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Line 465">
              <a:extLst>
                <a:ext uri="{FF2B5EF4-FFF2-40B4-BE49-F238E27FC236}">
                  <a16:creationId xmlns:a16="http://schemas.microsoft.com/office/drawing/2014/main" id="{0BA664B4-2021-2A75-84D4-B73C3DDDFCE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95988" y="4816475"/>
              <a:ext cx="0" cy="0"/>
            </a:xfrm>
            <a:prstGeom prst="line">
              <a:avLst/>
            </a:prstGeom>
            <a:grpFill/>
            <a:ln w="17463" cap="flat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A2FB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Line 466">
              <a:extLst>
                <a:ext uri="{FF2B5EF4-FFF2-40B4-BE49-F238E27FC236}">
                  <a16:creationId xmlns:a16="http://schemas.microsoft.com/office/drawing/2014/main" id="{F87197FD-4883-8FFE-02C7-BBB01C0D9CC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95988" y="4816475"/>
              <a:ext cx="0" cy="0"/>
            </a:xfrm>
            <a:prstGeom prst="line">
              <a:avLst/>
            </a:prstGeom>
            <a:grpFill/>
            <a:ln w="17463" cap="flat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A2FB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Line 467">
              <a:extLst>
                <a:ext uri="{FF2B5EF4-FFF2-40B4-BE49-F238E27FC236}">
                  <a16:creationId xmlns:a16="http://schemas.microsoft.com/office/drawing/2014/main" id="{3174039A-4706-BEFA-4AF0-D53AE23A9B6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95988" y="4816475"/>
              <a:ext cx="0" cy="0"/>
            </a:xfrm>
            <a:prstGeom prst="line">
              <a:avLst/>
            </a:prstGeom>
            <a:grpFill/>
            <a:ln w="17463" cap="flat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A2FB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Line 468">
              <a:extLst>
                <a:ext uri="{FF2B5EF4-FFF2-40B4-BE49-F238E27FC236}">
                  <a16:creationId xmlns:a16="http://schemas.microsoft.com/office/drawing/2014/main" id="{C0AB71E9-2925-8CBB-787D-4FB41B1320D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95988" y="4816475"/>
              <a:ext cx="0" cy="0"/>
            </a:xfrm>
            <a:prstGeom prst="line">
              <a:avLst/>
            </a:prstGeom>
            <a:grpFill/>
            <a:ln w="17463" cap="flat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A2FB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Freeform 469">
              <a:extLst>
                <a:ext uri="{FF2B5EF4-FFF2-40B4-BE49-F238E27FC236}">
                  <a16:creationId xmlns:a16="http://schemas.microsoft.com/office/drawing/2014/main" id="{96543DDA-328B-5EE2-3375-4D585F9CF5E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8963" y="4491038"/>
              <a:ext cx="466725" cy="465138"/>
            </a:xfrm>
            <a:custGeom>
              <a:avLst/>
              <a:gdLst>
                <a:gd name="T0" fmla="*/ 399 w 799"/>
                <a:gd name="T1" fmla="*/ 798 h 798"/>
                <a:gd name="T2" fmla="*/ 0 w 799"/>
                <a:gd name="T3" fmla="*/ 399 h 798"/>
                <a:gd name="T4" fmla="*/ 399 w 799"/>
                <a:gd name="T5" fmla="*/ 0 h 798"/>
                <a:gd name="T6" fmla="*/ 799 w 799"/>
                <a:gd name="T7" fmla="*/ 399 h 798"/>
                <a:gd name="T8" fmla="*/ 770 w 799"/>
                <a:gd name="T9" fmla="*/ 399 h 798"/>
                <a:gd name="T10" fmla="*/ 399 w 799"/>
                <a:gd name="T11" fmla="*/ 29 h 798"/>
                <a:gd name="T12" fmla="*/ 29 w 799"/>
                <a:gd name="T13" fmla="*/ 399 h 798"/>
                <a:gd name="T14" fmla="*/ 399 w 799"/>
                <a:gd name="T15" fmla="*/ 769 h 798"/>
                <a:gd name="T16" fmla="*/ 399 w 799"/>
                <a:gd name="T17" fmla="*/ 798 h 7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9" h="798">
                  <a:moveTo>
                    <a:pt x="399" y="798"/>
                  </a:moveTo>
                  <a:cubicBezTo>
                    <a:pt x="179" y="798"/>
                    <a:pt x="0" y="619"/>
                    <a:pt x="0" y="399"/>
                  </a:cubicBezTo>
                  <a:cubicBezTo>
                    <a:pt x="0" y="179"/>
                    <a:pt x="179" y="0"/>
                    <a:pt x="399" y="0"/>
                  </a:cubicBezTo>
                  <a:cubicBezTo>
                    <a:pt x="619" y="0"/>
                    <a:pt x="799" y="179"/>
                    <a:pt x="799" y="399"/>
                  </a:cubicBezTo>
                  <a:cubicBezTo>
                    <a:pt x="770" y="399"/>
                    <a:pt x="770" y="399"/>
                    <a:pt x="770" y="399"/>
                  </a:cubicBezTo>
                  <a:cubicBezTo>
                    <a:pt x="770" y="195"/>
                    <a:pt x="604" y="29"/>
                    <a:pt x="399" y="29"/>
                  </a:cubicBezTo>
                  <a:cubicBezTo>
                    <a:pt x="195" y="29"/>
                    <a:pt x="29" y="195"/>
                    <a:pt x="29" y="399"/>
                  </a:cubicBezTo>
                  <a:cubicBezTo>
                    <a:pt x="29" y="603"/>
                    <a:pt x="195" y="769"/>
                    <a:pt x="399" y="769"/>
                  </a:cubicBezTo>
                  <a:lnTo>
                    <a:pt x="399" y="7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A2FB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Freeform 470">
              <a:extLst>
                <a:ext uri="{FF2B5EF4-FFF2-40B4-BE49-F238E27FC236}">
                  <a16:creationId xmlns:a16="http://schemas.microsoft.com/office/drawing/2014/main" id="{DC847007-3FC3-CA03-C352-4F87C2A597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9763" y="4540250"/>
              <a:ext cx="365125" cy="366713"/>
            </a:xfrm>
            <a:custGeom>
              <a:avLst/>
              <a:gdLst>
                <a:gd name="T0" fmla="*/ 313 w 627"/>
                <a:gd name="T1" fmla="*/ 628 h 628"/>
                <a:gd name="T2" fmla="*/ 92 w 627"/>
                <a:gd name="T3" fmla="*/ 536 h 628"/>
                <a:gd name="T4" fmla="*/ 0 w 627"/>
                <a:gd name="T5" fmla="*/ 314 h 628"/>
                <a:gd name="T6" fmla="*/ 92 w 627"/>
                <a:gd name="T7" fmla="*/ 92 h 628"/>
                <a:gd name="T8" fmla="*/ 313 w 627"/>
                <a:gd name="T9" fmla="*/ 0 h 628"/>
                <a:gd name="T10" fmla="*/ 535 w 627"/>
                <a:gd name="T11" fmla="*/ 92 h 628"/>
                <a:gd name="T12" fmla="*/ 627 w 627"/>
                <a:gd name="T13" fmla="*/ 314 h 628"/>
                <a:gd name="T14" fmla="*/ 598 w 627"/>
                <a:gd name="T15" fmla="*/ 314 h 628"/>
                <a:gd name="T16" fmla="*/ 515 w 627"/>
                <a:gd name="T17" fmla="*/ 112 h 628"/>
                <a:gd name="T18" fmla="*/ 313 w 627"/>
                <a:gd name="T19" fmla="*/ 29 h 628"/>
                <a:gd name="T20" fmla="*/ 112 w 627"/>
                <a:gd name="T21" fmla="*/ 112 h 628"/>
                <a:gd name="T22" fmla="*/ 28 w 627"/>
                <a:gd name="T23" fmla="*/ 314 h 628"/>
                <a:gd name="T24" fmla="*/ 112 w 627"/>
                <a:gd name="T25" fmla="*/ 515 h 628"/>
                <a:gd name="T26" fmla="*/ 313 w 627"/>
                <a:gd name="T27" fmla="*/ 599 h 628"/>
                <a:gd name="T28" fmla="*/ 313 w 627"/>
                <a:gd name="T29" fmla="*/ 628 h 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27" h="628">
                  <a:moveTo>
                    <a:pt x="313" y="628"/>
                  </a:moveTo>
                  <a:cubicBezTo>
                    <a:pt x="230" y="628"/>
                    <a:pt x="151" y="595"/>
                    <a:pt x="92" y="536"/>
                  </a:cubicBezTo>
                  <a:cubicBezTo>
                    <a:pt x="32" y="476"/>
                    <a:pt x="0" y="398"/>
                    <a:pt x="0" y="314"/>
                  </a:cubicBezTo>
                  <a:cubicBezTo>
                    <a:pt x="0" y="230"/>
                    <a:pt x="32" y="151"/>
                    <a:pt x="92" y="92"/>
                  </a:cubicBezTo>
                  <a:cubicBezTo>
                    <a:pt x="151" y="33"/>
                    <a:pt x="230" y="0"/>
                    <a:pt x="313" y="0"/>
                  </a:cubicBezTo>
                  <a:cubicBezTo>
                    <a:pt x="397" y="0"/>
                    <a:pt x="476" y="33"/>
                    <a:pt x="535" y="92"/>
                  </a:cubicBezTo>
                  <a:cubicBezTo>
                    <a:pt x="594" y="151"/>
                    <a:pt x="627" y="230"/>
                    <a:pt x="627" y="314"/>
                  </a:cubicBezTo>
                  <a:cubicBezTo>
                    <a:pt x="598" y="314"/>
                    <a:pt x="598" y="314"/>
                    <a:pt x="598" y="314"/>
                  </a:cubicBezTo>
                  <a:cubicBezTo>
                    <a:pt x="598" y="238"/>
                    <a:pt x="569" y="166"/>
                    <a:pt x="515" y="112"/>
                  </a:cubicBezTo>
                  <a:cubicBezTo>
                    <a:pt x="461" y="59"/>
                    <a:pt x="389" y="29"/>
                    <a:pt x="313" y="29"/>
                  </a:cubicBezTo>
                  <a:cubicBezTo>
                    <a:pt x="237" y="29"/>
                    <a:pt x="166" y="59"/>
                    <a:pt x="112" y="112"/>
                  </a:cubicBezTo>
                  <a:cubicBezTo>
                    <a:pt x="58" y="166"/>
                    <a:pt x="28" y="238"/>
                    <a:pt x="28" y="314"/>
                  </a:cubicBezTo>
                  <a:cubicBezTo>
                    <a:pt x="28" y="390"/>
                    <a:pt x="58" y="462"/>
                    <a:pt x="112" y="515"/>
                  </a:cubicBezTo>
                  <a:cubicBezTo>
                    <a:pt x="166" y="569"/>
                    <a:pt x="237" y="599"/>
                    <a:pt x="313" y="599"/>
                  </a:cubicBezTo>
                  <a:lnTo>
                    <a:pt x="313" y="6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A2FB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Freeform 471">
              <a:extLst>
                <a:ext uri="{FF2B5EF4-FFF2-40B4-BE49-F238E27FC236}">
                  <a16:creationId xmlns:a16="http://schemas.microsoft.com/office/drawing/2014/main" id="{8B176ABD-782C-F635-AF3C-1E99311083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8201" y="4738688"/>
              <a:ext cx="141288" cy="142875"/>
            </a:xfrm>
            <a:custGeom>
              <a:avLst/>
              <a:gdLst>
                <a:gd name="T0" fmla="*/ 82 w 89"/>
                <a:gd name="T1" fmla="*/ 90 h 90"/>
                <a:gd name="T2" fmla="*/ 0 w 89"/>
                <a:gd name="T3" fmla="*/ 7 h 90"/>
                <a:gd name="T4" fmla="*/ 7 w 89"/>
                <a:gd name="T5" fmla="*/ 0 h 90"/>
                <a:gd name="T6" fmla="*/ 89 w 89"/>
                <a:gd name="T7" fmla="*/ 82 h 90"/>
                <a:gd name="T8" fmla="*/ 82 w 89"/>
                <a:gd name="T9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0">
                  <a:moveTo>
                    <a:pt x="82" y="90"/>
                  </a:moveTo>
                  <a:lnTo>
                    <a:pt x="0" y="7"/>
                  </a:lnTo>
                  <a:lnTo>
                    <a:pt x="7" y="0"/>
                  </a:lnTo>
                  <a:lnTo>
                    <a:pt x="89" y="82"/>
                  </a:lnTo>
                  <a:lnTo>
                    <a:pt x="82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A2FB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Freeform 472">
              <a:extLst>
                <a:ext uri="{FF2B5EF4-FFF2-40B4-BE49-F238E27FC236}">
                  <a16:creationId xmlns:a16="http://schemas.microsoft.com/office/drawing/2014/main" id="{56B26FC0-98D7-17A6-3F29-A6C406B990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68988" y="4692650"/>
              <a:ext cx="69850" cy="68263"/>
            </a:xfrm>
            <a:custGeom>
              <a:avLst/>
              <a:gdLst>
                <a:gd name="T0" fmla="*/ 60 w 119"/>
                <a:gd name="T1" fmla="*/ 119 h 119"/>
                <a:gd name="T2" fmla="*/ 0 w 119"/>
                <a:gd name="T3" fmla="*/ 60 h 119"/>
                <a:gd name="T4" fmla="*/ 60 w 119"/>
                <a:gd name="T5" fmla="*/ 0 h 119"/>
                <a:gd name="T6" fmla="*/ 119 w 119"/>
                <a:gd name="T7" fmla="*/ 60 h 119"/>
                <a:gd name="T8" fmla="*/ 60 w 119"/>
                <a:gd name="T9" fmla="*/ 119 h 119"/>
                <a:gd name="T10" fmla="*/ 60 w 119"/>
                <a:gd name="T11" fmla="*/ 29 h 119"/>
                <a:gd name="T12" fmla="*/ 29 w 119"/>
                <a:gd name="T13" fmla="*/ 60 h 119"/>
                <a:gd name="T14" fmla="*/ 60 w 119"/>
                <a:gd name="T15" fmla="*/ 91 h 119"/>
                <a:gd name="T16" fmla="*/ 90 w 119"/>
                <a:gd name="T17" fmla="*/ 60 h 119"/>
                <a:gd name="T18" fmla="*/ 60 w 119"/>
                <a:gd name="T19" fmla="*/ 2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9" h="119">
                  <a:moveTo>
                    <a:pt x="60" y="119"/>
                  </a:moveTo>
                  <a:cubicBezTo>
                    <a:pt x="27" y="119"/>
                    <a:pt x="0" y="93"/>
                    <a:pt x="0" y="60"/>
                  </a:cubicBezTo>
                  <a:cubicBezTo>
                    <a:pt x="0" y="27"/>
                    <a:pt x="27" y="0"/>
                    <a:pt x="60" y="0"/>
                  </a:cubicBezTo>
                  <a:cubicBezTo>
                    <a:pt x="93" y="0"/>
                    <a:pt x="119" y="27"/>
                    <a:pt x="119" y="60"/>
                  </a:cubicBezTo>
                  <a:cubicBezTo>
                    <a:pt x="119" y="93"/>
                    <a:pt x="93" y="119"/>
                    <a:pt x="60" y="119"/>
                  </a:cubicBezTo>
                  <a:close/>
                  <a:moveTo>
                    <a:pt x="60" y="29"/>
                  </a:moveTo>
                  <a:cubicBezTo>
                    <a:pt x="43" y="29"/>
                    <a:pt x="29" y="43"/>
                    <a:pt x="29" y="60"/>
                  </a:cubicBezTo>
                  <a:cubicBezTo>
                    <a:pt x="29" y="77"/>
                    <a:pt x="43" y="91"/>
                    <a:pt x="60" y="91"/>
                  </a:cubicBezTo>
                  <a:cubicBezTo>
                    <a:pt x="77" y="91"/>
                    <a:pt x="90" y="77"/>
                    <a:pt x="90" y="60"/>
                  </a:cubicBezTo>
                  <a:cubicBezTo>
                    <a:pt x="90" y="43"/>
                    <a:pt x="77" y="29"/>
                    <a:pt x="60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A2FB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Freeform 473">
              <a:extLst>
                <a:ext uri="{FF2B5EF4-FFF2-40B4-BE49-F238E27FC236}">
                  <a16:creationId xmlns:a16="http://schemas.microsoft.com/office/drawing/2014/main" id="{868D6D40-A3BB-24C2-3BDC-3B5F28598D6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4401" y="4814888"/>
              <a:ext cx="87313" cy="87313"/>
            </a:xfrm>
            <a:custGeom>
              <a:avLst/>
              <a:gdLst>
                <a:gd name="T0" fmla="*/ 10 w 55"/>
                <a:gd name="T1" fmla="*/ 55 h 55"/>
                <a:gd name="T2" fmla="*/ 0 w 55"/>
                <a:gd name="T3" fmla="*/ 55 h 55"/>
                <a:gd name="T4" fmla="*/ 0 w 55"/>
                <a:gd name="T5" fmla="*/ 0 h 55"/>
                <a:gd name="T6" fmla="*/ 55 w 55"/>
                <a:gd name="T7" fmla="*/ 0 h 55"/>
                <a:gd name="T8" fmla="*/ 55 w 55"/>
                <a:gd name="T9" fmla="*/ 10 h 55"/>
                <a:gd name="T10" fmla="*/ 10 w 55"/>
                <a:gd name="T11" fmla="*/ 10 h 55"/>
                <a:gd name="T12" fmla="*/ 10 w 55"/>
                <a:gd name="T13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55">
                  <a:moveTo>
                    <a:pt x="10" y="55"/>
                  </a:moveTo>
                  <a:lnTo>
                    <a:pt x="0" y="55"/>
                  </a:lnTo>
                  <a:lnTo>
                    <a:pt x="0" y="0"/>
                  </a:lnTo>
                  <a:lnTo>
                    <a:pt x="55" y="0"/>
                  </a:lnTo>
                  <a:lnTo>
                    <a:pt x="55" y="10"/>
                  </a:lnTo>
                  <a:lnTo>
                    <a:pt x="10" y="10"/>
                  </a:lnTo>
                  <a:lnTo>
                    <a:pt x="10" y="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A2FB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Freeform 474">
              <a:extLst>
                <a:ext uri="{FF2B5EF4-FFF2-40B4-BE49-F238E27FC236}">
                  <a16:creationId xmlns:a16="http://schemas.microsoft.com/office/drawing/2014/main" id="{310C416A-07EF-69B7-8930-FA046F46F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3613" y="4864100"/>
              <a:ext cx="82550" cy="84138"/>
            </a:xfrm>
            <a:custGeom>
              <a:avLst/>
              <a:gdLst>
                <a:gd name="T0" fmla="*/ 10 w 52"/>
                <a:gd name="T1" fmla="*/ 53 h 53"/>
                <a:gd name="T2" fmla="*/ 0 w 52"/>
                <a:gd name="T3" fmla="*/ 53 h 53"/>
                <a:gd name="T4" fmla="*/ 0 w 52"/>
                <a:gd name="T5" fmla="*/ 0 h 53"/>
                <a:gd name="T6" fmla="*/ 52 w 52"/>
                <a:gd name="T7" fmla="*/ 0 h 53"/>
                <a:gd name="T8" fmla="*/ 52 w 52"/>
                <a:gd name="T9" fmla="*/ 11 h 53"/>
                <a:gd name="T10" fmla="*/ 10 w 52"/>
                <a:gd name="T11" fmla="*/ 11 h 53"/>
                <a:gd name="T12" fmla="*/ 10 w 52"/>
                <a:gd name="T1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53">
                  <a:moveTo>
                    <a:pt x="10" y="53"/>
                  </a:moveTo>
                  <a:lnTo>
                    <a:pt x="0" y="53"/>
                  </a:lnTo>
                  <a:lnTo>
                    <a:pt x="0" y="0"/>
                  </a:lnTo>
                  <a:lnTo>
                    <a:pt x="52" y="0"/>
                  </a:lnTo>
                  <a:lnTo>
                    <a:pt x="52" y="11"/>
                  </a:lnTo>
                  <a:lnTo>
                    <a:pt x="10" y="11"/>
                  </a:lnTo>
                  <a:lnTo>
                    <a:pt x="10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A2FB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3A30EDA5-2AB7-3EA2-16D6-448B239B617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791363" y="2385642"/>
            <a:ext cx="298923" cy="251223"/>
            <a:chOff x="6575426" y="2741613"/>
            <a:chExt cx="447675" cy="376238"/>
          </a:xfrm>
          <a:solidFill>
            <a:schemeClr val="tx1"/>
          </a:solidFill>
        </p:grpSpPr>
        <p:sp>
          <p:nvSpPr>
            <p:cNvPr id="38" name="Freeform 292">
              <a:extLst>
                <a:ext uri="{FF2B5EF4-FFF2-40B4-BE49-F238E27FC236}">
                  <a16:creationId xmlns:a16="http://schemas.microsoft.com/office/drawing/2014/main" id="{9B8A8166-0488-C6D3-A2C2-F0009D8B0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6389" y="2921001"/>
              <a:ext cx="61913" cy="142875"/>
            </a:xfrm>
            <a:custGeom>
              <a:avLst/>
              <a:gdLst>
                <a:gd name="T0" fmla="*/ 39 w 39"/>
                <a:gd name="T1" fmla="*/ 90 h 90"/>
                <a:gd name="T2" fmla="*/ 28 w 39"/>
                <a:gd name="T3" fmla="*/ 90 h 90"/>
                <a:gd name="T4" fmla="*/ 28 w 39"/>
                <a:gd name="T5" fmla="*/ 10 h 90"/>
                <a:gd name="T6" fmla="*/ 11 w 39"/>
                <a:gd name="T7" fmla="*/ 10 h 90"/>
                <a:gd name="T8" fmla="*/ 11 w 39"/>
                <a:gd name="T9" fmla="*/ 90 h 90"/>
                <a:gd name="T10" fmla="*/ 0 w 39"/>
                <a:gd name="T11" fmla="*/ 90 h 90"/>
                <a:gd name="T12" fmla="*/ 0 w 39"/>
                <a:gd name="T13" fmla="*/ 0 h 90"/>
                <a:gd name="T14" fmla="*/ 39 w 39"/>
                <a:gd name="T15" fmla="*/ 0 h 90"/>
                <a:gd name="T16" fmla="*/ 39 w 39"/>
                <a:gd name="T17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" h="90">
                  <a:moveTo>
                    <a:pt x="39" y="90"/>
                  </a:moveTo>
                  <a:lnTo>
                    <a:pt x="28" y="90"/>
                  </a:lnTo>
                  <a:lnTo>
                    <a:pt x="28" y="10"/>
                  </a:lnTo>
                  <a:lnTo>
                    <a:pt x="11" y="10"/>
                  </a:lnTo>
                  <a:lnTo>
                    <a:pt x="11" y="90"/>
                  </a:lnTo>
                  <a:lnTo>
                    <a:pt x="0" y="90"/>
                  </a:lnTo>
                  <a:lnTo>
                    <a:pt x="0" y="0"/>
                  </a:lnTo>
                  <a:lnTo>
                    <a:pt x="39" y="0"/>
                  </a:lnTo>
                  <a:lnTo>
                    <a:pt x="39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A2FB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Freeform 293">
              <a:extLst>
                <a:ext uri="{FF2B5EF4-FFF2-40B4-BE49-F238E27FC236}">
                  <a16:creationId xmlns:a16="http://schemas.microsoft.com/office/drawing/2014/main" id="{D2B73793-A074-FAEB-52CA-2552B614E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9101" y="2830513"/>
              <a:ext cx="60325" cy="233363"/>
            </a:xfrm>
            <a:custGeom>
              <a:avLst/>
              <a:gdLst>
                <a:gd name="T0" fmla="*/ 38 w 38"/>
                <a:gd name="T1" fmla="*/ 147 h 147"/>
                <a:gd name="T2" fmla="*/ 28 w 38"/>
                <a:gd name="T3" fmla="*/ 147 h 147"/>
                <a:gd name="T4" fmla="*/ 28 w 38"/>
                <a:gd name="T5" fmla="*/ 11 h 147"/>
                <a:gd name="T6" fmla="*/ 10 w 38"/>
                <a:gd name="T7" fmla="*/ 11 h 147"/>
                <a:gd name="T8" fmla="*/ 10 w 38"/>
                <a:gd name="T9" fmla="*/ 147 h 147"/>
                <a:gd name="T10" fmla="*/ 0 w 38"/>
                <a:gd name="T11" fmla="*/ 147 h 147"/>
                <a:gd name="T12" fmla="*/ 0 w 38"/>
                <a:gd name="T13" fmla="*/ 0 h 147"/>
                <a:gd name="T14" fmla="*/ 38 w 38"/>
                <a:gd name="T15" fmla="*/ 0 h 147"/>
                <a:gd name="T16" fmla="*/ 38 w 38"/>
                <a:gd name="T17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" h="147">
                  <a:moveTo>
                    <a:pt x="38" y="147"/>
                  </a:moveTo>
                  <a:lnTo>
                    <a:pt x="28" y="147"/>
                  </a:lnTo>
                  <a:lnTo>
                    <a:pt x="28" y="11"/>
                  </a:lnTo>
                  <a:lnTo>
                    <a:pt x="10" y="11"/>
                  </a:lnTo>
                  <a:lnTo>
                    <a:pt x="10" y="147"/>
                  </a:lnTo>
                  <a:lnTo>
                    <a:pt x="0" y="147"/>
                  </a:lnTo>
                  <a:lnTo>
                    <a:pt x="0" y="0"/>
                  </a:lnTo>
                  <a:lnTo>
                    <a:pt x="38" y="0"/>
                  </a:lnTo>
                  <a:lnTo>
                    <a:pt x="38" y="1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A2FB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Freeform 294">
              <a:extLst>
                <a:ext uri="{FF2B5EF4-FFF2-40B4-BE49-F238E27FC236}">
                  <a16:creationId xmlns:a16="http://schemas.microsoft.com/office/drawing/2014/main" id="{B6ECD9B7-5866-E4B7-306C-58D38544BDEA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0226" y="2741613"/>
              <a:ext cx="61913" cy="322263"/>
            </a:xfrm>
            <a:custGeom>
              <a:avLst/>
              <a:gdLst>
                <a:gd name="T0" fmla="*/ 29 w 39"/>
                <a:gd name="T1" fmla="*/ 203 h 203"/>
                <a:gd name="T2" fmla="*/ 28 w 39"/>
                <a:gd name="T3" fmla="*/ 10 h 203"/>
                <a:gd name="T4" fmla="*/ 11 w 39"/>
                <a:gd name="T5" fmla="*/ 10 h 203"/>
                <a:gd name="T6" fmla="*/ 11 w 39"/>
                <a:gd name="T7" fmla="*/ 203 h 203"/>
                <a:gd name="T8" fmla="*/ 0 w 39"/>
                <a:gd name="T9" fmla="*/ 203 h 203"/>
                <a:gd name="T10" fmla="*/ 0 w 39"/>
                <a:gd name="T11" fmla="*/ 0 h 203"/>
                <a:gd name="T12" fmla="*/ 39 w 39"/>
                <a:gd name="T13" fmla="*/ 0 h 203"/>
                <a:gd name="T14" fmla="*/ 39 w 39"/>
                <a:gd name="T15" fmla="*/ 203 h 203"/>
                <a:gd name="T16" fmla="*/ 29 w 39"/>
                <a:gd name="T17" fmla="*/ 20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" h="203">
                  <a:moveTo>
                    <a:pt x="29" y="203"/>
                  </a:moveTo>
                  <a:lnTo>
                    <a:pt x="28" y="10"/>
                  </a:lnTo>
                  <a:lnTo>
                    <a:pt x="11" y="10"/>
                  </a:lnTo>
                  <a:lnTo>
                    <a:pt x="11" y="203"/>
                  </a:lnTo>
                  <a:lnTo>
                    <a:pt x="0" y="203"/>
                  </a:lnTo>
                  <a:lnTo>
                    <a:pt x="0" y="0"/>
                  </a:lnTo>
                  <a:lnTo>
                    <a:pt x="39" y="0"/>
                  </a:lnTo>
                  <a:lnTo>
                    <a:pt x="39" y="203"/>
                  </a:lnTo>
                  <a:lnTo>
                    <a:pt x="29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A2FB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Rectangle 295">
              <a:extLst>
                <a:ext uri="{FF2B5EF4-FFF2-40B4-BE49-F238E27FC236}">
                  <a16:creationId xmlns:a16="http://schemas.microsoft.com/office/drawing/2014/main" id="{DC10C576-1AB3-2E11-4AF0-C62C6B12A3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5426" y="3055938"/>
              <a:ext cx="4476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A2FB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Rectangle 296">
              <a:extLst>
                <a:ext uri="{FF2B5EF4-FFF2-40B4-BE49-F238E27FC236}">
                  <a16:creationId xmlns:a16="http://schemas.microsoft.com/office/drawing/2014/main" id="{B5ED31CE-F1B1-F89D-BCB2-4AD6BCF48C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5426" y="3100388"/>
              <a:ext cx="447675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A2FB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414F3377-6BBA-19C5-DFEA-9A4D7297807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083561" y="4198471"/>
            <a:ext cx="225783" cy="311644"/>
            <a:chOff x="2144714" y="3592513"/>
            <a:chExt cx="338138" cy="466726"/>
          </a:xfrm>
          <a:solidFill>
            <a:schemeClr val="tx1"/>
          </a:solidFill>
        </p:grpSpPr>
        <p:sp>
          <p:nvSpPr>
            <p:cNvPr id="45" name="Freeform 327">
              <a:extLst>
                <a:ext uri="{FF2B5EF4-FFF2-40B4-BE49-F238E27FC236}">
                  <a16:creationId xmlns:a16="http://schemas.microsoft.com/office/drawing/2014/main" id="{360B1E0F-B7D0-E57E-C045-B4A8D6DB2F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44714" y="3592513"/>
              <a:ext cx="338138" cy="376238"/>
            </a:xfrm>
            <a:custGeom>
              <a:avLst/>
              <a:gdLst>
                <a:gd name="T0" fmla="*/ 435 w 580"/>
                <a:gd name="T1" fmla="*/ 646 h 646"/>
                <a:gd name="T2" fmla="*/ 146 w 580"/>
                <a:gd name="T3" fmla="*/ 646 h 646"/>
                <a:gd name="T4" fmla="*/ 133 w 580"/>
                <a:gd name="T5" fmla="*/ 568 h 646"/>
                <a:gd name="T6" fmla="*/ 102 w 580"/>
                <a:gd name="T7" fmla="*/ 471 h 646"/>
                <a:gd name="T8" fmla="*/ 21 w 580"/>
                <a:gd name="T9" fmla="*/ 213 h 646"/>
                <a:gd name="T10" fmla="*/ 231 w 580"/>
                <a:gd name="T11" fmla="*/ 6 h 646"/>
                <a:gd name="T12" fmla="*/ 290 w 580"/>
                <a:gd name="T13" fmla="*/ 0 h 646"/>
                <a:gd name="T14" fmla="*/ 349 w 580"/>
                <a:gd name="T15" fmla="*/ 5 h 646"/>
                <a:gd name="T16" fmla="*/ 559 w 580"/>
                <a:gd name="T17" fmla="*/ 213 h 646"/>
                <a:gd name="T18" fmla="*/ 478 w 580"/>
                <a:gd name="T19" fmla="*/ 471 h 646"/>
                <a:gd name="T20" fmla="*/ 447 w 580"/>
                <a:gd name="T21" fmla="*/ 568 h 646"/>
                <a:gd name="T22" fmla="*/ 435 w 580"/>
                <a:gd name="T23" fmla="*/ 646 h 646"/>
                <a:gd name="T24" fmla="*/ 170 w 580"/>
                <a:gd name="T25" fmla="*/ 617 h 646"/>
                <a:gd name="T26" fmla="*/ 410 w 580"/>
                <a:gd name="T27" fmla="*/ 617 h 646"/>
                <a:gd name="T28" fmla="*/ 419 w 580"/>
                <a:gd name="T29" fmla="*/ 564 h 646"/>
                <a:gd name="T30" fmla="*/ 458 w 580"/>
                <a:gd name="T31" fmla="*/ 451 h 646"/>
                <a:gd name="T32" fmla="*/ 459 w 580"/>
                <a:gd name="T33" fmla="*/ 450 h 646"/>
                <a:gd name="T34" fmla="*/ 531 w 580"/>
                <a:gd name="T35" fmla="*/ 219 h 646"/>
                <a:gd name="T36" fmla="*/ 531 w 580"/>
                <a:gd name="T37" fmla="*/ 219 h 646"/>
                <a:gd name="T38" fmla="*/ 343 w 580"/>
                <a:gd name="T39" fmla="*/ 34 h 646"/>
                <a:gd name="T40" fmla="*/ 290 w 580"/>
                <a:gd name="T41" fmla="*/ 29 h 646"/>
                <a:gd name="T42" fmla="*/ 290 w 580"/>
                <a:gd name="T43" fmla="*/ 29 h 646"/>
                <a:gd name="T44" fmla="*/ 236 w 580"/>
                <a:gd name="T45" fmla="*/ 34 h 646"/>
                <a:gd name="T46" fmla="*/ 50 w 580"/>
                <a:gd name="T47" fmla="*/ 219 h 646"/>
                <a:gd name="T48" fmla="*/ 50 w 580"/>
                <a:gd name="T49" fmla="*/ 219 h 646"/>
                <a:gd name="T50" fmla="*/ 122 w 580"/>
                <a:gd name="T51" fmla="*/ 450 h 646"/>
                <a:gd name="T52" fmla="*/ 122 w 580"/>
                <a:gd name="T53" fmla="*/ 451 h 646"/>
                <a:gd name="T54" fmla="*/ 162 w 580"/>
                <a:gd name="T55" fmla="*/ 564 h 646"/>
                <a:gd name="T56" fmla="*/ 170 w 580"/>
                <a:gd name="T57" fmla="*/ 617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80" h="646">
                  <a:moveTo>
                    <a:pt x="435" y="646"/>
                  </a:moveTo>
                  <a:cubicBezTo>
                    <a:pt x="146" y="646"/>
                    <a:pt x="146" y="646"/>
                    <a:pt x="146" y="646"/>
                  </a:cubicBezTo>
                  <a:cubicBezTo>
                    <a:pt x="133" y="568"/>
                    <a:pt x="133" y="568"/>
                    <a:pt x="133" y="568"/>
                  </a:cubicBezTo>
                  <a:cubicBezTo>
                    <a:pt x="122" y="496"/>
                    <a:pt x="105" y="475"/>
                    <a:pt x="102" y="471"/>
                  </a:cubicBezTo>
                  <a:cubicBezTo>
                    <a:pt x="30" y="406"/>
                    <a:pt x="0" y="309"/>
                    <a:pt x="21" y="213"/>
                  </a:cubicBezTo>
                  <a:cubicBezTo>
                    <a:pt x="42" y="111"/>
                    <a:pt x="126" y="28"/>
                    <a:pt x="231" y="6"/>
                  </a:cubicBezTo>
                  <a:cubicBezTo>
                    <a:pt x="250" y="2"/>
                    <a:pt x="270" y="0"/>
                    <a:pt x="290" y="0"/>
                  </a:cubicBezTo>
                  <a:cubicBezTo>
                    <a:pt x="310" y="0"/>
                    <a:pt x="330" y="2"/>
                    <a:pt x="349" y="5"/>
                  </a:cubicBezTo>
                  <a:cubicBezTo>
                    <a:pt x="454" y="28"/>
                    <a:pt x="538" y="111"/>
                    <a:pt x="559" y="213"/>
                  </a:cubicBezTo>
                  <a:cubicBezTo>
                    <a:pt x="580" y="309"/>
                    <a:pt x="550" y="406"/>
                    <a:pt x="478" y="471"/>
                  </a:cubicBezTo>
                  <a:cubicBezTo>
                    <a:pt x="476" y="475"/>
                    <a:pt x="459" y="496"/>
                    <a:pt x="447" y="568"/>
                  </a:cubicBezTo>
                  <a:lnTo>
                    <a:pt x="435" y="646"/>
                  </a:lnTo>
                  <a:close/>
                  <a:moveTo>
                    <a:pt x="170" y="617"/>
                  </a:moveTo>
                  <a:cubicBezTo>
                    <a:pt x="410" y="617"/>
                    <a:pt x="410" y="617"/>
                    <a:pt x="410" y="617"/>
                  </a:cubicBezTo>
                  <a:cubicBezTo>
                    <a:pt x="419" y="564"/>
                    <a:pt x="419" y="564"/>
                    <a:pt x="419" y="564"/>
                  </a:cubicBezTo>
                  <a:cubicBezTo>
                    <a:pt x="431" y="486"/>
                    <a:pt x="450" y="459"/>
                    <a:pt x="458" y="451"/>
                  </a:cubicBezTo>
                  <a:cubicBezTo>
                    <a:pt x="459" y="450"/>
                    <a:pt x="459" y="450"/>
                    <a:pt x="459" y="450"/>
                  </a:cubicBezTo>
                  <a:cubicBezTo>
                    <a:pt x="523" y="392"/>
                    <a:pt x="550" y="305"/>
                    <a:pt x="531" y="219"/>
                  </a:cubicBezTo>
                  <a:cubicBezTo>
                    <a:pt x="531" y="219"/>
                    <a:pt x="531" y="219"/>
                    <a:pt x="531" y="219"/>
                  </a:cubicBezTo>
                  <a:cubicBezTo>
                    <a:pt x="512" y="128"/>
                    <a:pt x="437" y="53"/>
                    <a:pt x="343" y="34"/>
                  </a:cubicBezTo>
                  <a:cubicBezTo>
                    <a:pt x="326" y="30"/>
                    <a:pt x="309" y="29"/>
                    <a:pt x="290" y="29"/>
                  </a:cubicBezTo>
                  <a:cubicBezTo>
                    <a:pt x="290" y="29"/>
                    <a:pt x="290" y="29"/>
                    <a:pt x="290" y="29"/>
                  </a:cubicBezTo>
                  <a:cubicBezTo>
                    <a:pt x="272" y="29"/>
                    <a:pt x="253" y="30"/>
                    <a:pt x="236" y="34"/>
                  </a:cubicBezTo>
                  <a:cubicBezTo>
                    <a:pt x="143" y="54"/>
                    <a:pt x="68" y="128"/>
                    <a:pt x="50" y="219"/>
                  </a:cubicBezTo>
                  <a:cubicBezTo>
                    <a:pt x="50" y="219"/>
                    <a:pt x="50" y="219"/>
                    <a:pt x="50" y="219"/>
                  </a:cubicBezTo>
                  <a:cubicBezTo>
                    <a:pt x="30" y="305"/>
                    <a:pt x="57" y="392"/>
                    <a:pt x="122" y="450"/>
                  </a:cubicBezTo>
                  <a:cubicBezTo>
                    <a:pt x="122" y="451"/>
                    <a:pt x="122" y="451"/>
                    <a:pt x="122" y="451"/>
                  </a:cubicBezTo>
                  <a:cubicBezTo>
                    <a:pt x="130" y="459"/>
                    <a:pt x="149" y="486"/>
                    <a:pt x="162" y="564"/>
                  </a:cubicBezTo>
                  <a:lnTo>
                    <a:pt x="170" y="6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A2FB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Freeform 328">
              <a:extLst>
                <a:ext uri="{FF2B5EF4-FFF2-40B4-BE49-F238E27FC236}">
                  <a16:creationId xmlns:a16="http://schemas.microsoft.com/office/drawing/2014/main" id="{140E9A4D-94AF-5466-5FCF-82692C8F25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2339" y="3638551"/>
              <a:ext cx="242888" cy="285750"/>
            </a:xfrm>
            <a:custGeom>
              <a:avLst/>
              <a:gdLst>
                <a:gd name="T0" fmla="*/ 288 w 418"/>
                <a:gd name="T1" fmla="*/ 491 h 491"/>
                <a:gd name="T2" fmla="*/ 130 w 418"/>
                <a:gd name="T3" fmla="*/ 491 h 491"/>
                <a:gd name="T4" fmla="*/ 128 w 418"/>
                <a:gd name="T5" fmla="*/ 478 h 491"/>
                <a:gd name="T6" fmla="*/ 74 w 418"/>
                <a:gd name="T7" fmla="*/ 338 h 491"/>
                <a:gd name="T8" fmla="*/ 16 w 418"/>
                <a:gd name="T9" fmla="*/ 151 h 491"/>
                <a:gd name="T10" fmla="*/ 164 w 418"/>
                <a:gd name="T11" fmla="*/ 3 h 491"/>
                <a:gd name="T12" fmla="*/ 210 w 418"/>
                <a:gd name="T13" fmla="*/ 0 h 491"/>
                <a:gd name="T14" fmla="*/ 254 w 418"/>
                <a:gd name="T15" fmla="*/ 3 h 491"/>
                <a:gd name="T16" fmla="*/ 403 w 418"/>
                <a:gd name="T17" fmla="*/ 151 h 491"/>
                <a:gd name="T18" fmla="*/ 344 w 418"/>
                <a:gd name="T19" fmla="*/ 338 h 491"/>
                <a:gd name="T20" fmla="*/ 290 w 418"/>
                <a:gd name="T21" fmla="*/ 478 h 491"/>
                <a:gd name="T22" fmla="*/ 288 w 418"/>
                <a:gd name="T23" fmla="*/ 491 h 491"/>
                <a:gd name="T24" fmla="*/ 155 w 418"/>
                <a:gd name="T25" fmla="*/ 462 h 491"/>
                <a:gd name="T26" fmla="*/ 264 w 418"/>
                <a:gd name="T27" fmla="*/ 462 h 491"/>
                <a:gd name="T28" fmla="*/ 324 w 418"/>
                <a:gd name="T29" fmla="*/ 317 h 491"/>
                <a:gd name="T30" fmla="*/ 325 w 418"/>
                <a:gd name="T31" fmla="*/ 316 h 491"/>
                <a:gd name="T32" fmla="*/ 374 w 418"/>
                <a:gd name="T33" fmla="*/ 157 h 491"/>
                <a:gd name="T34" fmla="*/ 374 w 418"/>
                <a:gd name="T35" fmla="*/ 157 h 491"/>
                <a:gd name="T36" fmla="*/ 247 w 418"/>
                <a:gd name="T37" fmla="*/ 31 h 491"/>
                <a:gd name="T38" fmla="*/ 243 w 418"/>
                <a:gd name="T39" fmla="*/ 30 h 491"/>
                <a:gd name="T40" fmla="*/ 210 w 418"/>
                <a:gd name="T41" fmla="*/ 29 h 491"/>
                <a:gd name="T42" fmla="*/ 175 w 418"/>
                <a:gd name="T43" fmla="*/ 30 h 491"/>
                <a:gd name="T44" fmla="*/ 175 w 418"/>
                <a:gd name="T45" fmla="*/ 30 h 491"/>
                <a:gd name="T46" fmla="*/ 171 w 418"/>
                <a:gd name="T47" fmla="*/ 31 h 491"/>
                <a:gd name="T48" fmla="*/ 44 w 418"/>
                <a:gd name="T49" fmla="*/ 157 h 491"/>
                <a:gd name="T50" fmla="*/ 44 w 418"/>
                <a:gd name="T51" fmla="*/ 157 h 491"/>
                <a:gd name="T52" fmla="*/ 94 w 418"/>
                <a:gd name="T53" fmla="*/ 316 h 491"/>
                <a:gd name="T54" fmla="*/ 94 w 418"/>
                <a:gd name="T55" fmla="*/ 317 h 491"/>
                <a:gd name="T56" fmla="*/ 155 w 418"/>
                <a:gd name="T57" fmla="*/ 462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18" h="491">
                  <a:moveTo>
                    <a:pt x="288" y="491"/>
                  </a:moveTo>
                  <a:cubicBezTo>
                    <a:pt x="130" y="491"/>
                    <a:pt x="130" y="491"/>
                    <a:pt x="130" y="491"/>
                  </a:cubicBezTo>
                  <a:cubicBezTo>
                    <a:pt x="128" y="478"/>
                    <a:pt x="128" y="478"/>
                    <a:pt x="128" y="478"/>
                  </a:cubicBezTo>
                  <a:cubicBezTo>
                    <a:pt x="121" y="431"/>
                    <a:pt x="105" y="368"/>
                    <a:pt x="74" y="338"/>
                  </a:cubicBezTo>
                  <a:cubicBezTo>
                    <a:pt x="22" y="291"/>
                    <a:pt x="0" y="221"/>
                    <a:pt x="16" y="151"/>
                  </a:cubicBezTo>
                  <a:cubicBezTo>
                    <a:pt x="30" y="79"/>
                    <a:pt x="90" y="20"/>
                    <a:pt x="164" y="3"/>
                  </a:cubicBezTo>
                  <a:cubicBezTo>
                    <a:pt x="169" y="2"/>
                    <a:pt x="180" y="0"/>
                    <a:pt x="210" y="0"/>
                  </a:cubicBezTo>
                  <a:cubicBezTo>
                    <a:pt x="237" y="0"/>
                    <a:pt x="248" y="1"/>
                    <a:pt x="254" y="3"/>
                  </a:cubicBezTo>
                  <a:cubicBezTo>
                    <a:pt x="329" y="20"/>
                    <a:pt x="388" y="79"/>
                    <a:pt x="403" y="151"/>
                  </a:cubicBezTo>
                  <a:cubicBezTo>
                    <a:pt x="418" y="221"/>
                    <a:pt x="397" y="291"/>
                    <a:pt x="344" y="338"/>
                  </a:cubicBezTo>
                  <a:cubicBezTo>
                    <a:pt x="313" y="368"/>
                    <a:pt x="298" y="431"/>
                    <a:pt x="290" y="478"/>
                  </a:cubicBezTo>
                  <a:lnTo>
                    <a:pt x="288" y="491"/>
                  </a:lnTo>
                  <a:close/>
                  <a:moveTo>
                    <a:pt x="155" y="462"/>
                  </a:moveTo>
                  <a:cubicBezTo>
                    <a:pt x="264" y="462"/>
                    <a:pt x="264" y="462"/>
                    <a:pt x="264" y="462"/>
                  </a:cubicBezTo>
                  <a:cubicBezTo>
                    <a:pt x="276" y="393"/>
                    <a:pt x="296" y="344"/>
                    <a:pt x="324" y="317"/>
                  </a:cubicBezTo>
                  <a:cubicBezTo>
                    <a:pt x="325" y="316"/>
                    <a:pt x="325" y="316"/>
                    <a:pt x="325" y="316"/>
                  </a:cubicBezTo>
                  <a:cubicBezTo>
                    <a:pt x="369" y="276"/>
                    <a:pt x="388" y="217"/>
                    <a:pt x="374" y="157"/>
                  </a:cubicBezTo>
                  <a:cubicBezTo>
                    <a:pt x="374" y="157"/>
                    <a:pt x="374" y="157"/>
                    <a:pt x="374" y="157"/>
                  </a:cubicBezTo>
                  <a:cubicBezTo>
                    <a:pt x="362" y="95"/>
                    <a:pt x="311" y="45"/>
                    <a:pt x="247" y="31"/>
                  </a:cubicBezTo>
                  <a:cubicBezTo>
                    <a:pt x="243" y="30"/>
                    <a:pt x="243" y="30"/>
                    <a:pt x="243" y="30"/>
                  </a:cubicBezTo>
                  <a:cubicBezTo>
                    <a:pt x="239" y="30"/>
                    <a:pt x="230" y="29"/>
                    <a:pt x="210" y="29"/>
                  </a:cubicBezTo>
                  <a:cubicBezTo>
                    <a:pt x="188" y="29"/>
                    <a:pt x="178" y="30"/>
                    <a:pt x="175" y="30"/>
                  </a:cubicBezTo>
                  <a:cubicBezTo>
                    <a:pt x="175" y="30"/>
                    <a:pt x="175" y="30"/>
                    <a:pt x="175" y="30"/>
                  </a:cubicBezTo>
                  <a:cubicBezTo>
                    <a:pt x="171" y="31"/>
                    <a:pt x="171" y="31"/>
                    <a:pt x="171" y="31"/>
                  </a:cubicBezTo>
                  <a:cubicBezTo>
                    <a:pt x="107" y="45"/>
                    <a:pt x="56" y="95"/>
                    <a:pt x="44" y="157"/>
                  </a:cubicBezTo>
                  <a:cubicBezTo>
                    <a:pt x="44" y="157"/>
                    <a:pt x="44" y="157"/>
                    <a:pt x="44" y="157"/>
                  </a:cubicBezTo>
                  <a:cubicBezTo>
                    <a:pt x="30" y="217"/>
                    <a:pt x="49" y="276"/>
                    <a:pt x="94" y="316"/>
                  </a:cubicBezTo>
                  <a:cubicBezTo>
                    <a:pt x="94" y="317"/>
                    <a:pt x="94" y="317"/>
                    <a:pt x="94" y="317"/>
                  </a:cubicBezTo>
                  <a:cubicBezTo>
                    <a:pt x="122" y="344"/>
                    <a:pt x="142" y="393"/>
                    <a:pt x="155" y="4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A2FB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Rectangle 329">
              <a:extLst>
                <a:ext uri="{FF2B5EF4-FFF2-40B4-BE49-F238E27FC236}">
                  <a16:creationId xmlns:a16="http://schemas.microsoft.com/office/drawing/2014/main" id="{AB17D4B5-1B03-2B6A-9B86-73AA8C4788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1864" y="3952876"/>
              <a:ext cx="22542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A2FB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Rectangle 330">
              <a:extLst>
                <a:ext uri="{FF2B5EF4-FFF2-40B4-BE49-F238E27FC236}">
                  <a16:creationId xmlns:a16="http://schemas.microsoft.com/office/drawing/2014/main" id="{08BA68C3-C0F9-47DD-8DB4-CDA42363B6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1864" y="3997326"/>
              <a:ext cx="22542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A2FB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Rectangle 331">
              <a:extLst>
                <a:ext uri="{FF2B5EF4-FFF2-40B4-BE49-F238E27FC236}">
                  <a16:creationId xmlns:a16="http://schemas.microsoft.com/office/drawing/2014/main" id="{0C3F2D45-829C-C498-2912-946BD6D826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0126" y="4041776"/>
              <a:ext cx="88900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A2FB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2577D9DC-2CEA-070D-1EC1-76A3C3BD361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793818" y="4244155"/>
            <a:ext cx="310583" cy="202463"/>
            <a:chOff x="3070226" y="7842250"/>
            <a:chExt cx="465138" cy="303213"/>
          </a:xfrm>
          <a:solidFill>
            <a:schemeClr val="tx1"/>
          </a:solidFill>
        </p:grpSpPr>
        <p:sp>
          <p:nvSpPr>
            <p:cNvPr id="53" name="Freeform 786">
              <a:extLst>
                <a:ext uri="{FF2B5EF4-FFF2-40B4-BE49-F238E27FC236}">
                  <a16:creationId xmlns:a16="http://schemas.microsoft.com/office/drawing/2014/main" id="{7C260B10-A28F-CBB1-84B4-C19A4B3D16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22626" y="7842250"/>
              <a:ext cx="160338" cy="158750"/>
            </a:xfrm>
            <a:custGeom>
              <a:avLst/>
              <a:gdLst>
                <a:gd name="T0" fmla="*/ 137 w 275"/>
                <a:gd name="T1" fmla="*/ 275 h 275"/>
                <a:gd name="T2" fmla="*/ 0 w 275"/>
                <a:gd name="T3" fmla="*/ 138 h 275"/>
                <a:gd name="T4" fmla="*/ 137 w 275"/>
                <a:gd name="T5" fmla="*/ 0 h 275"/>
                <a:gd name="T6" fmla="*/ 275 w 275"/>
                <a:gd name="T7" fmla="*/ 138 h 275"/>
                <a:gd name="T8" fmla="*/ 137 w 275"/>
                <a:gd name="T9" fmla="*/ 275 h 275"/>
                <a:gd name="T10" fmla="*/ 137 w 275"/>
                <a:gd name="T11" fmla="*/ 29 h 275"/>
                <a:gd name="T12" fmla="*/ 29 w 275"/>
                <a:gd name="T13" fmla="*/ 138 h 275"/>
                <a:gd name="T14" fmla="*/ 137 w 275"/>
                <a:gd name="T15" fmla="*/ 247 h 275"/>
                <a:gd name="T16" fmla="*/ 246 w 275"/>
                <a:gd name="T17" fmla="*/ 138 h 275"/>
                <a:gd name="T18" fmla="*/ 137 w 275"/>
                <a:gd name="T19" fmla="*/ 29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5" h="275">
                  <a:moveTo>
                    <a:pt x="137" y="275"/>
                  </a:moveTo>
                  <a:cubicBezTo>
                    <a:pt x="62" y="275"/>
                    <a:pt x="0" y="214"/>
                    <a:pt x="0" y="138"/>
                  </a:cubicBezTo>
                  <a:cubicBezTo>
                    <a:pt x="0" y="62"/>
                    <a:pt x="62" y="0"/>
                    <a:pt x="137" y="0"/>
                  </a:cubicBezTo>
                  <a:cubicBezTo>
                    <a:pt x="213" y="0"/>
                    <a:pt x="275" y="62"/>
                    <a:pt x="275" y="138"/>
                  </a:cubicBezTo>
                  <a:cubicBezTo>
                    <a:pt x="275" y="214"/>
                    <a:pt x="213" y="275"/>
                    <a:pt x="137" y="275"/>
                  </a:cubicBezTo>
                  <a:close/>
                  <a:moveTo>
                    <a:pt x="137" y="29"/>
                  </a:moveTo>
                  <a:cubicBezTo>
                    <a:pt x="77" y="29"/>
                    <a:pt x="29" y="78"/>
                    <a:pt x="29" y="138"/>
                  </a:cubicBezTo>
                  <a:cubicBezTo>
                    <a:pt x="29" y="198"/>
                    <a:pt x="77" y="247"/>
                    <a:pt x="137" y="247"/>
                  </a:cubicBezTo>
                  <a:cubicBezTo>
                    <a:pt x="197" y="247"/>
                    <a:pt x="246" y="198"/>
                    <a:pt x="246" y="138"/>
                  </a:cubicBezTo>
                  <a:cubicBezTo>
                    <a:pt x="246" y="78"/>
                    <a:pt x="197" y="29"/>
                    <a:pt x="137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A2FB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4" name="Freeform 787">
              <a:extLst>
                <a:ext uri="{FF2B5EF4-FFF2-40B4-BE49-F238E27FC236}">
                  <a16:creationId xmlns:a16="http://schemas.microsoft.com/office/drawing/2014/main" id="{FEDB962C-2CAB-D9E0-C06B-1E0485CB03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60224" y="7875588"/>
              <a:ext cx="90488" cy="88900"/>
            </a:xfrm>
            <a:custGeom>
              <a:avLst/>
              <a:gdLst>
                <a:gd name="T0" fmla="*/ 76 w 153"/>
                <a:gd name="T1" fmla="*/ 153 h 153"/>
                <a:gd name="T2" fmla="*/ 0 w 153"/>
                <a:gd name="T3" fmla="*/ 77 h 153"/>
                <a:gd name="T4" fmla="*/ 76 w 153"/>
                <a:gd name="T5" fmla="*/ 0 h 153"/>
                <a:gd name="T6" fmla="*/ 153 w 153"/>
                <a:gd name="T7" fmla="*/ 77 h 153"/>
                <a:gd name="T8" fmla="*/ 76 w 153"/>
                <a:gd name="T9" fmla="*/ 153 h 153"/>
                <a:gd name="T10" fmla="*/ 76 w 153"/>
                <a:gd name="T11" fmla="*/ 29 h 153"/>
                <a:gd name="T12" fmla="*/ 29 w 153"/>
                <a:gd name="T13" fmla="*/ 77 h 153"/>
                <a:gd name="T14" fmla="*/ 76 w 153"/>
                <a:gd name="T15" fmla="*/ 125 h 153"/>
                <a:gd name="T16" fmla="*/ 124 w 153"/>
                <a:gd name="T17" fmla="*/ 77 h 153"/>
                <a:gd name="T18" fmla="*/ 76 w 153"/>
                <a:gd name="T19" fmla="*/ 2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3" h="153">
                  <a:moveTo>
                    <a:pt x="76" y="153"/>
                  </a:moveTo>
                  <a:cubicBezTo>
                    <a:pt x="34" y="153"/>
                    <a:pt x="0" y="119"/>
                    <a:pt x="0" y="77"/>
                  </a:cubicBezTo>
                  <a:cubicBezTo>
                    <a:pt x="0" y="35"/>
                    <a:pt x="34" y="0"/>
                    <a:pt x="76" y="0"/>
                  </a:cubicBezTo>
                  <a:cubicBezTo>
                    <a:pt x="119" y="0"/>
                    <a:pt x="153" y="35"/>
                    <a:pt x="153" y="77"/>
                  </a:cubicBezTo>
                  <a:cubicBezTo>
                    <a:pt x="153" y="119"/>
                    <a:pt x="119" y="153"/>
                    <a:pt x="76" y="153"/>
                  </a:cubicBezTo>
                  <a:close/>
                  <a:moveTo>
                    <a:pt x="76" y="29"/>
                  </a:moveTo>
                  <a:cubicBezTo>
                    <a:pt x="50" y="29"/>
                    <a:pt x="29" y="50"/>
                    <a:pt x="29" y="77"/>
                  </a:cubicBezTo>
                  <a:cubicBezTo>
                    <a:pt x="29" y="103"/>
                    <a:pt x="50" y="125"/>
                    <a:pt x="76" y="125"/>
                  </a:cubicBezTo>
                  <a:cubicBezTo>
                    <a:pt x="103" y="125"/>
                    <a:pt x="124" y="103"/>
                    <a:pt x="124" y="77"/>
                  </a:cubicBezTo>
                  <a:cubicBezTo>
                    <a:pt x="124" y="50"/>
                    <a:pt x="103" y="29"/>
                    <a:pt x="76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A2FB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Freeform 788">
              <a:extLst>
                <a:ext uri="{FF2B5EF4-FFF2-40B4-BE49-F238E27FC236}">
                  <a16:creationId xmlns:a16="http://schemas.microsoft.com/office/drawing/2014/main" id="{F3BD40A2-EF5E-F46C-5093-E086928C067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2938" y="8024813"/>
              <a:ext cx="239713" cy="120650"/>
            </a:xfrm>
            <a:custGeom>
              <a:avLst/>
              <a:gdLst>
                <a:gd name="T0" fmla="*/ 413 w 413"/>
                <a:gd name="T1" fmla="*/ 207 h 207"/>
                <a:gd name="T2" fmla="*/ 384 w 413"/>
                <a:gd name="T3" fmla="*/ 207 h 207"/>
                <a:gd name="T4" fmla="*/ 332 w 413"/>
                <a:gd name="T5" fmla="*/ 77 h 207"/>
                <a:gd name="T6" fmla="*/ 206 w 413"/>
                <a:gd name="T7" fmla="*/ 29 h 207"/>
                <a:gd name="T8" fmla="*/ 81 w 413"/>
                <a:gd name="T9" fmla="*/ 79 h 207"/>
                <a:gd name="T10" fmla="*/ 28 w 413"/>
                <a:gd name="T11" fmla="*/ 207 h 207"/>
                <a:gd name="T12" fmla="*/ 0 w 413"/>
                <a:gd name="T13" fmla="*/ 207 h 207"/>
                <a:gd name="T14" fmla="*/ 206 w 413"/>
                <a:gd name="T15" fmla="*/ 0 h 207"/>
                <a:gd name="T16" fmla="*/ 352 w 413"/>
                <a:gd name="T17" fmla="*/ 57 h 207"/>
                <a:gd name="T18" fmla="*/ 413 w 413"/>
                <a:gd name="T19" fmla="*/ 20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3" h="207">
                  <a:moveTo>
                    <a:pt x="413" y="207"/>
                  </a:moveTo>
                  <a:cubicBezTo>
                    <a:pt x="384" y="207"/>
                    <a:pt x="384" y="207"/>
                    <a:pt x="384" y="207"/>
                  </a:cubicBezTo>
                  <a:cubicBezTo>
                    <a:pt x="384" y="156"/>
                    <a:pt x="366" y="110"/>
                    <a:pt x="332" y="77"/>
                  </a:cubicBezTo>
                  <a:cubicBezTo>
                    <a:pt x="300" y="46"/>
                    <a:pt x="255" y="29"/>
                    <a:pt x="206" y="29"/>
                  </a:cubicBezTo>
                  <a:cubicBezTo>
                    <a:pt x="158" y="29"/>
                    <a:pt x="114" y="47"/>
                    <a:pt x="81" y="79"/>
                  </a:cubicBezTo>
                  <a:cubicBezTo>
                    <a:pt x="47" y="113"/>
                    <a:pt x="28" y="158"/>
                    <a:pt x="28" y="207"/>
                  </a:cubicBezTo>
                  <a:cubicBezTo>
                    <a:pt x="0" y="207"/>
                    <a:pt x="0" y="207"/>
                    <a:pt x="0" y="207"/>
                  </a:cubicBezTo>
                  <a:cubicBezTo>
                    <a:pt x="0" y="91"/>
                    <a:pt x="90" y="0"/>
                    <a:pt x="206" y="0"/>
                  </a:cubicBezTo>
                  <a:cubicBezTo>
                    <a:pt x="263" y="0"/>
                    <a:pt x="314" y="20"/>
                    <a:pt x="352" y="57"/>
                  </a:cubicBezTo>
                  <a:cubicBezTo>
                    <a:pt x="392" y="95"/>
                    <a:pt x="413" y="148"/>
                    <a:pt x="413" y="20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A2FB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Freeform 789">
              <a:extLst>
                <a:ext uri="{FF2B5EF4-FFF2-40B4-BE49-F238E27FC236}">
                  <a16:creationId xmlns:a16="http://schemas.microsoft.com/office/drawing/2014/main" id="{F364F1D6-23F9-D6CD-7845-A4D4EFF491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7388" y="8069263"/>
              <a:ext cx="150813" cy="76200"/>
            </a:xfrm>
            <a:custGeom>
              <a:avLst/>
              <a:gdLst>
                <a:gd name="T0" fmla="*/ 259 w 259"/>
                <a:gd name="T1" fmla="*/ 130 h 130"/>
                <a:gd name="T2" fmla="*/ 230 w 259"/>
                <a:gd name="T3" fmla="*/ 130 h 130"/>
                <a:gd name="T4" fmla="*/ 129 w 259"/>
                <a:gd name="T5" fmla="*/ 29 h 130"/>
                <a:gd name="T6" fmla="*/ 28 w 259"/>
                <a:gd name="T7" fmla="*/ 130 h 130"/>
                <a:gd name="T8" fmla="*/ 0 w 259"/>
                <a:gd name="T9" fmla="*/ 130 h 130"/>
                <a:gd name="T10" fmla="*/ 34 w 259"/>
                <a:gd name="T11" fmla="*/ 34 h 130"/>
                <a:gd name="T12" fmla="*/ 129 w 259"/>
                <a:gd name="T13" fmla="*/ 0 h 130"/>
                <a:gd name="T14" fmla="*/ 225 w 259"/>
                <a:gd name="T15" fmla="*/ 34 h 130"/>
                <a:gd name="T16" fmla="*/ 259 w 259"/>
                <a:gd name="T17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9" h="130">
                  <a:moveTo>
                    <a:pt x="259" y="130"/>
                  </a:moveTo>
                  <a:cubicBezTo>
                    <a:pt x="230" y="130"/>
                    <a:pt x="230" y="130"/>
                    <a:pt x="230" y="130"/>
                  </a:cubicBezTo>
                  <a:cubicBezTo>
                    <a:pt x="230" y="64"/>
                    <a:pt x="196" y="29"/>
                    <a:pt x="129" y="29"/>
                  </a:cubicBezTo>
                  <a:cubicBezTo>
                    <a:pt x="63" y="29"/>
                    <a:pt x="28" y="64"/>
                    <a:pt x="28" y="130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0" y="89"/>
                    <a:pt x="11" y="57"/>
                    <a:pt x="34" y="34"/>
                  </a:cubicBezTo>
                  <a:cubicBezTo>
                    <a:pt x="56" y="11"/>
                    <a:pt x="89" y="0"/>
                    <a:pt x="129" y="0"/>
                  </a:cubicBezTo>
                  <a:cubicBezTo>
                    <a:pt x="170" y="0"/>
                    <a:pt x="202" y="11"/>
                    <a:pt x="225" y="34"/>
                  </a:cubicBezTo>
                  <a:cubicBezTo>
                    <a:pt x="248" y="57"/>
                    <a:pt x="259" y="89"/>
                    <a:pt x="259" y="1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A2FB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Freeform 790">
              <a:extLst>
                <a:ext uri="{FF2B5EF4-FFF2-40B4-BE49-F238E27FC236}">
                  <a16:creationId xmlns:a16="http://schemas.microsoft.com/office/drawing/2014/main" id="{1975D916-1659-2A6F-1BE4-1C2030D8F1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0226" y="8012113"/>
              <a:ext cx="150813" cy="71438"/>
            </a:xfrm>
            <a:custGeom>
              <a:avLst/>
              <a:gdLst>
                <a:gd name="T0" fmla="*/ 29 w 259"/>
                <a:gd name="T1" fmla="*/ 124 h 124"/>
                <a:gd name="T2" fmla="*/ 0 w 259"/>
                <a:gd name="T3" fmla="*/ 124 h 124"/>
                <a:gd name="T4" fmla="*/ 130 w 259"/>
                <a:gd name="T5" fmla="*/ 0 h 124"/>
                <a:gd name="T6" fmla="*/ 259 w 259"/>
                <a:gd name="T7" fmla="*/ 106 h 124"/>
                <a:gd name="T8" fmla="*/ 230 w 259"/>
                <a:gd name="T9" fmla="*/ 111 h 124"/>
                <a:gd name="T10" fmla="*/ 130 w 259"/>
                <a:gd name="T11" fmla="*/ 29 h 124"/>
                <a:gd name="T12" fmla="*/ 29 w 259"/>
                <a:gd name="T13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9" h="124">
                  <a:moveTo>
                    <a:pt x="29" y="124"/>
                  </a:moveTo>
                  <a:cubicBezTo>
                    <a:pt x="0" y="124"/>
                    <a:pt x="0" y="124"/>
                    <a:pt x="0" y="124"/>
                  </a:cubicBezTo>
                  <a:cubicBezTo>
                    <a:pt x="0" y="55"/>
                    <a:pt x="58" y="0"/>
                    <a:pt x="130" y="0"/>
                  </a:cubicBezTo>
                  <a:cubicBezTo>
                    <a:pt x="194" y="0"/>
                    <a:pt x="250" y="46"/>
                    <a:pt x="259" y="106"/>
                  </a:cubicBezTo>
                  <a:cubicBezTo>
                    <a:pt x="230" y="111"/>
                    <a:pt x="230" y="111"/>
                    <a:pt x="230" y="111"/>
                  </a:cubicBezTo>
                  <a:cubicBezTo>
                    <a:pt x="223" y="64"/>
                    <a:pt x="180" y="29"/>
                    <a:pt x="130" y="29"/>
                  </a:cubicBezTo>
                  <a:cubicBezTo>
                    <a:pt x="74" y="29"/>
                    <a:pt x="29" y="71"/>
                    <a:pt x="29" y="1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A2FB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Freeform 791">
              <a:extLst>
                <a:ext uri="{FF2B5EF4-FFF2-40B4-BE49-F238E27FC236}">
                  <a16:creationId xmlns:a16="http://schemas.microsoft.com/office/drawing/2014/main" id="{2A466910-3205-094D-CBD8-7410BCA692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92451" y="7889875"/>
              <a:ext cx="106363" cy="106363"/>
            </a:xfrm>
            <a:custGeom>
              <a:avLst/>
              <a:gdLst>
                <a:gd name="T0" fmla="*/ 91 w 182"/>
                <a:gd name="T1" fmla="*/ 183 h 183"/>
                <a:gd name="T2" fmla="*/ 0 w 182"/>
                <a:gd name="T3" fmla="*/ 91 h 183"/>
                <a:gd name="T4" fmla="*/ 91 w 182"/>
                <a:gd name="T5" fmla="*/ 0 h 183"/>
                <a:gd name="T6" fmla="*/ 182 w 182"/>
                <a:gd name="T7" fmla="*/ 91 h 183"/>
                <a:gd name="T8" fmla="*/ 91 w 182"/>
                <a:gd name="T9" fmla="*/ 183 h 183"/>
                <a:gd name="T10" fmla="*/ 91 w 182"/>
                <a:gd name="T11" fmla="*/ 29 h 183"/>
                <a:gd name="T12" fmla="*/ 29 w 182"/>
                <a:gd name="T13" fmla="*/ 91 h 183"/>
                <a:gd name="T14" fmla="*/ 91 w 182"/>
                <a:gd name="T15" fmla="*/ 154 h 183"/>
                <a:gd name="T16" fmla="*/ 154 w 182"/>
                <a:gd name="T17" fmla="*/ 91 h 183"/>
                <a:gd name="T18" fmla="*/ 91 w 182"/>
                <a:gd name="T19" fmla="*/ 2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2" h="183">
                  <a:moveTo>
                    <a:pt x="91" y="183"/>
                  </a:moveTo>
                  <a:cubicBezTo>
                    <a:pt x="41" y="183"/>
                    <a:pt x="0" y="142"/>
                    <a:pt x="0" y="91"/>
                  </a:cubicBezTo>
                  <a:cubicBezTo>
                    <a:pt x="0" y="41"/>
                    <a:pt x="41" y="0"/>
                    <a:pt x="91" y="0"/>
                  </a:cubicBezTo>
                  <a:cubicBezTo>
                    <a:pt x="141" y="0"/>
                    <a:pt x="182" y="41"/>
                    <a:pt x="182" y="91"/>
                  </a:cubicBezTo>
                  <a:cubicBezTo>
                    <a:pt x="182" y="142"/>
                    <a:pt x="141" y="183"/>
                    <a:pt x="91" y="183"/>
                  </a:cubicBezTo>
                  <a:close/>
                  <a:moveTo>
                    <a:pt x="91" y="29"/>
                  </a:moveTo>
                  <a:cubicBezTo>
                    <a:pt x="57" y="29"/>
                    <a:pt x="29" y="57"/>
                    <a:pt x="29" y="91"/>
                  </a:cubicBezTo>
                  <a:cubicBezTo>
                    <a:pt x="29" y="126"/>
                    <a:pt x="57" y="154"/>
                    <a:pt x="91" y="154"/>
                  </a:cubicBezTo>
                  <a:cubicBezTo>
                    <a:pt x="126" y="154"/>
                    <a:pt x="154" y="126"/>
                    <a:pt x="154" y="91"/>
                  </a:cubicBezTo>
                  <a:cubicBezTo>
                    <a:pt x="154" y="57"/>
                    <a:pt x="126" y="29"/>
                    <a:pt x="91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A2FB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Freeform 792">
              <a:extLst>
                <a:ext uri="{FF2B5EF4-FFF2-40B4-BE49-F238E27FC236}">
                  <a16:creationId xmlns:a16="http://schemas.microsoft.com/office/drawing/2014/main" id="{71A92FD4-0724-D284-EDF3-F0B3184827E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4551" y="8012113"/>
              <a:ext cx="150813" cy="71438"/>
            </a:xfrm>
            <a:custGeom>
              <a:avLst/>
              <a:gdLst>
                <a:gd name="T0" fmla="*/ 259 w 259"/>
                <a:gd name="T1" fmla="*/ 124 h 124"/>
                <a:gd name="T2" fmla="*/ 230 w 259"/>
                <a:gd name="T3" fmla="*/ 124 h 124"/>
                <a:gd name="T4" fmla="*/ 129 w 259"/>
                <a:gd name="T5" fmla="*/ 29 h 124"/>
                <a:gd name="T6" fmla="*/ 60 w 259"/>
                <a:gd name="T7" fmla="*/ 54 h 124"/>
                <a:gd name="T8" fmla="*/ 28 w 259"/>
                <a:gd name="T9" fmla="*/ 115 h 124"/>
                <a:gd name="T10" fmla="*/ 0 w 259"/>
                <a:gd name="T11" fmla="*/ 112 h 124"/>
                <a:gd name="T12" fmla="*/ 42 w 259"/>
                <a:gd name="T13" fmla="*/ 32 h 124"/>
                <a:gd name="T14" fmla="*/ 129 w 259"/>
                <a:gd name="T15" fmla="*/ 0 h 124"/>
                <a:gd name="T16" fmla="*/ 259 w 259"/>
                <a:gd name="T17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9" h="124">
                  <a:moveTo>
                    <a:pt x="259" y="124"/>
                  </a:moveTo>
                  <a:cubicBezTo>
                    <a:pt x="230" y="124"/>
                    <a:pt x="230" y="124"/>
                    <a:pt x="230" y="124"/>
                  </a:cubicBezTo>
                  <a:cubicBezTo>
                    <a:pt x="230" y="71"/>
                    <a:pt x="184" y="29"/>
                    <a:pt x="129" y="29"/>
                  </a:cubicBezTo>
                  <a:cubicBezTo>
                    <a:pt x="103" y="29"/>
                    <a:pt x="79" y="38"/>
                    <a:pt x="60" y="54"/>
                  </a:cubicBezTo>
                  <a:cubicBezTo>
                    <a:pt x="42" y="70"/>
                    <a:pt x="31" y="91"/>
                    <a:pt x="28" y="115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3" y="81"/>
                    <a:pt x="18" y="53"/>
                    <a:pt x="42" y="32"/>
                  </a:cubicBezTo>
                  <a:cubicBezTo>
                    <a:pt x="65" y="11"/>
                    <a:pt x="96" y="0"/>
                    <a:pt x="129" y="0"/>
                  </a:cubicBezTo>
                  <a:cubicBezTo>
                    <a:pt x="200" y="0"/>
                    <a:pt x="259" y="55"/>
                    <a:pt x="259" y="1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A2FB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Freeform 793">
              <a:extLst>
                <a:ext uri="{FF2B5EF4-FFF2-40B4-BE49-F238E27FC236}">
                  <a16:creationId xmlns:a16="http://schemas.microsoft.com/office/drawing/2014/main" id="{ECDE3869-2D92-7C22-2BC8-D89135AA6E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06776" y="7889875"/>
              <a:ext cx="106363" cy="106363"/>
            </a:xfrm>
            <a:custGeom>
              <a:avLst/>
              <a:gdLst>
                <a:gd name="T0" fmla="*/ 92 w 183"/>
                <a:gd name="T1" fmla="*/ 183 h 183"/>
                <a:gd name="T2" fmla="*/ 0 w 183"/>
                <a:gd name="T3" fmla="*/ 91 h 183"/>
                <a:gd name="T4" fmla="*/ 92 w 183"/>
                <a:gd name="T5" fmla="*/ 0 h 183"/>
                <a:gd name="T6" fmla="*/ 183 w 183"/>
                <a:gd name="T7" fmla="*/ 91 h 183"/>
                <a:gd name="T8" fmla="*/ 92 w 183"/>
                <a:gd name="T9" fmla="*/ 183 h 183"/>
                <a:gd name="T10" fmla="*/ 92 w 183"/>
                <a:gd name="T11" fmla="*/ 29 h 183"/>
                <a:gd name="T12" fmla="*/ 29 w 183"/>
                <a:gd name="T13" fmla="*/ 91 h 183"/>
                <a:gd name="T14" fmla="*/ 92 w 183"/>
                <a:gd name="T15" fmla="*/ 154 h 183"/>
                <a:gd name="T16" fmla="*/ 154 w 183"/>
                <a:gd name="T17" fmla="*/ 91 h 183"/>
                <a:gd name="T18" fmla="*/ 92 w 183"/>
                <a:gd name="T19" fmla="*/ 2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3" h="183">
                  <a:moveTo>
                    <a:pt x="92" y="183"/>
                  </a:moveTo>
                  <a:cubicBezTo>
                    <a:pt x="41" y="183"/>
                    <a:pt x="0" y="142"/>
                    <a:pt x="0" y="91"/>
                  </a:cubicBezTo>
                  <a:cubicBezTo>
                    <a:pt x="0" y="41"/>
                    <a:pt x="41" y="0"/>
                    <a:pt x="92" y="0"/>
                  </a:cubicBezTo>
                  <a:cubicBezTo>
                    <a:pt x="142" y="0"/>
                    <a:pt x="183" y="41"/>
                    <a:pt x="183" y="91"/>
                  </a:cubicBezTo>
                  <a:cubicBezTo>
                    <a:pt x="183" y="142"/>
                    <a:pt x="142" y="183"/>
                    <a:pt x="92" y="183"/>
                  </a:cubicBezTo>
                  <a:close/>
                  <a:moveTo>
                    <a:pt x="92" y="29"/>
                  </a:moveTo>
                  <a:cubicBezTo>
                    <a:pt x="57" y="29"/>
                    <a:pt x="29" y="57"/>
                    <a:pt x="29" y="91"/>
                  </a:cubicBezTo>
                  <a:cubicBezTo>
                    <a:pt x="29" y="126"/>
                    <a:pt x="57" y="154"/>
                    <a:pt x="92" y="154"/>
                  </a:cubicBezTo>
                  <a:cubicBezTo>
                    <a:pt x="126" y="154"/>
                    <a:pt x="154" y="126"/>
                    <a:pt x="154" y="91"/>
                  </a:cubicBezTo>
                  <a:cubicBezTo>
                    <a:pt x="154" y="57"/>
                    <a:pt x="126" y="29"/>
                    <a:pt x="92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A2FB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9EB16AA4-8A47-4822-DF51-4D80738BFB2F}"/>
              </a:ext>
            </a:extLst>
          </p:cNvPr>
          <p:cNvCxnSpPr>
            <a:cxnSpLocks/>
          </p:cNvCxnSpPr>
          <p:nvPr userDrawn="1"/>
        </p:nvCxnSpPr>
        <p:spPr>
          <a:xfrm>
            <a:off x="395552" y="2826678"/>
            <a:ext cx="116472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1A901458-0A9B-9A75-C67B-B9FB767FD2C5}"/>
              </a:ext>
            </a:extLst>
          </p:cNvPr>
          <p:cNvCxnSpPr>
            <a:cxnSpLocks/>
          </p:cNvCxnSpPr>
          <p:nvPr userDrawn="1"/>
        </p:nvCxnSpPr>
        <p:spPr>
          <a:xfrm>
            <a:off x="395552" y="4664443"/>
            <a:ext cx="116472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A9E97121-7DD6-ECB6-E217-7765D34BBA4A}"/>
              </a:ext>
            </a:extLst>
          </p:cNvPr>
          <p:cNvCxnSpPr>
            <a:cxnSpLocks/>
          </p:cNvCxnSpPr>
          <p:nvPr userDrawn="1"/>
        </p:nvCxnSpPr>
        <p:spPr>
          <a:xfrm>
            <a:off x="2166082" y="2826678"/>
            <a:ext cx="116472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F54C32F7-8519-E33A-1B71-26F1D70EA572}"/>
              </a:ext>
            </a:extLst>
          </p:cNvPr>
          <p:cNvCxnSpPr>
            <a:cxnSpLocks/>
          </p:cNvCxnSpPr>
          <p:nvPr userDrawn="1"/>
        </p:nvCxnSpPr>
        <p:spPr>
          <a:xfrm>
            <a:off x="2166082" y="4664443"/>
            <a:ext cx="116472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7D6994D8-D4CC-381B-3CD2-E435A6335FDB}"/>
              </a:ext>
            </a:extLst>
          </p:cNvPr>
          <p:cNvCxnSpPr>
            <a:cxnSpLocks/>
          </p:cNvCxnSpPr>
          <p:nvPr userDrawn="1"/>
        </p:nvCxnSpPr>
        <p:spPr>
          <a:xfrm>
            <a:off x="3970229" y="2826678"/>
            <a:ext cx="116472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C2E71BCA-9577-5C9D-B52A-73649800EA8D}"/>
              </a:ext>
            </a:extLst>
          </p:cNvPr>
          <p:cNvCxnSpPr>
            <a:cxnSpLocks/>
          </p:cNvCxnSpPr>
          <p:nvPr userDrawn="1"/>
        </p:nvCxnSpPr>
        <p:spPr>
          <a:xfrm>
            <a:off x="3970229" y="4664443"/>
            <a:ext cx="116472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5" name="Group 74">
            <a:extLst>
              <a:ext uri="{FF2B5EF4-FFF2-40B4-BE49-F238E27FC236}">
                <a16:creationId xmlns:a16="http://schemas.microsoft.com/office/drawing/2014/main" id="{183CAB30-FC65-C685-C36A-275AD77B0FBB}"/>
              </a:ext>
            </a:extLst>
          </p:cNvPr>
          <p:cNvGrpSpPr/>
          <p:nvPr userDrawn="1"/>
        </p:nvGrpSpPr>
        <p:grpSpPr>
          <a:xfrm>
            <a:off x="1279373" y="4192491"/>
            <a:ext cx="311643" cy="351000"/>
            <a:chOff x="1535247" y="4843840"/>
            <a:chExt cx="373971" cy="421200"/>
          </a:xfrm>
          <a:solidFill>
            <a:schemeClr val="tx1"/>
          </a:solidFill>
        </p:grpSpPr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F3FBD01D-821F-4227-64BC-BF6DB59DBBD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535247" y="4867380"/>
              <a:ext cx="373971" cy="373971"/>
              <a:chOff x="7461251" y="1817688"/>
              <a:chExt cx="466725" cy="466725"/>
            </a:xfrm>
            <a:grpFill/>
          </p:grpSpPr>
          <p:sp>
            <p:nvSpPr>
              <p:cNvPr id="78" name="Line 1205">
                <a:extLst>
                  <a:ext uri="{FF2B5EF4-FFF2-40B4-BE49-F238E27FC236}">
                    <a16:creationId xmlns:a16="http://schemas.microsoft.com/office/drawing/2014/main" id="{ABFC3ED2-2342-CD1B-5958-3940D557C2B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789863" y="2141538"/>
                <a:ext cx="0" cy="0"/>
              </a:xfrm>
              <a:prstGeom prst="line">
                <a:avLst/>
              </a:prstGeom>
              <a:grpFill/>
              <a:ln w="15875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809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1200" cap="none" spc="0" normalizeH="0" baseline="0" noProof="0">
                  <a:ln>
                    <a:noFill/>
                  </a:ln>
                  <a:solidFill>
                    <a:srgbClr val="0A2FB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9" name="Line 1206">
                <a:extLst>
                  <a:ext uri="{FF2B5EF4-FFF2-40B4-BE49-F238E27FC236}">
                    <a16:creationId xmlns:a16="http://schemas.microsoft.com/office/drawing/2014/main" id="{3AC2F1D3-B80F-94FD-8BAC-AF5B3C77934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789863" y="2141538"/>
                <a:ext cx="0" cy="0"/>
              </a:xfrm>
              <a:prstGeom prst="line">
                <a:avLst/>
              </a:prstGeom>
              <a:grpFill/>
              <a:ln w="15875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809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1200" cap="none" spc="0" normalizeH="0" baseline="0" noProof="0">
                  <a:ln>
                    <a:noFill/>
                  </a:ln>
                  <a:solidFill>
                    <a:srgbClr val="0A2FB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0" name="Line 1207">
                <a:extLst>
                  <a:ext uri="{FF2B5EF4-FFF2-40B4-BE49-F238E27FC236}">
                    <a16:creationId xmlns:a16="http://schemas.microsoft.com/office/drawing/2014/main" id="{01422174-5F83-B781-1311-D200D529F15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789863" y="2141538"/>
                <a:ext cx="0" cy="0"/>
              </a:xfrm>
              <a:prstGeom prst="line">
                <a:avLst/>
              </a:prstGeom>
              <a:grpFill/>
              <a:ln w="15875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809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1200" cap="none" spc="0" normalizeH="0" baseline="0" noProof="0">
                  <a:ln>
                    <a:noFill/>
                  </a:ln>
                  <a:solidFill>
                    <a:srgbClr val="0A2FB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1" name="Line 1208">
                <a:extLst>
                  <a:ext uri="{FF2B5EF4-FFF2-40B4-BE49-F238E27FC236}">
                    <a16:creationId xmlns:a16="http://schemas.microsoft.com/office/drawing/2014/main" id="{B53203E8-CB51-E0CB-7931-86885AA04FF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789863" y="2141538"/>
                <a:ext cx="0" cy="0"/>
              </a:xfrm>
              <a:prstGeom prst="line">
                <a:avLst/>
              </a:prstGeom>
              <a:grpFill/>
              <a:ln w="15875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809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1200" cap="none" spc="0" normalizeH="0" baseline="0" noProof="0">
                  <a:ln>
                    <a:noFill/>
                  </a:ln>
                  <a:solidFill>
                    <a:srgbClr val="0A2FB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2" name="Line 1209">
                <a:extLst>
                  <a:ext uri="{FF2B5EF4-FFF2-40B4-BE49-F238E27FC236}">
                    <a16:creationId xmlns:a16="http://schemas.microsoft.com/office/drawing/2014/main" id="{856B5538-89DF-AFAB-B4AA-DBF3B0A71D9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788276" y="2143125"/>
                <a:ext cx="0" cy="0"/>
              </a:xfrm>
              <a:prstGeom prst="line">
                <a:avLst/>
              </a:prstGeom>
              <a:grpFill/>
              <a:ln w="15875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809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1200" cap="none" spc="0" normalizeH="0" baseline="0" noProof="0">
                  <a:ln>
                    <a:noFill/>
                  </a:ln>
                  <a:solidFill>
                    <a:srgbClr val="0A2FB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3" name="Line 1210">
                <a:extLst>
                  <a:ext uri="{FF2B5EF4-FFF2-40B4-BE49-F238E27FC236}">
                    <a16:creationId xmlns:a16="http://schemas.microsoft.com/office/drawing/2014/main" id="{993B9161-223E-A327-5102-50D0BBD341E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788276" y="2143125"/>
                <a:ext cx="0" cy="0"/>
              </a:xfrm>
              <a:prstGeom prst="line">
                <a:avLst/>
              </a:prstGeom>
              <a:grpFill/>
              <a:ln w="15875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809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1200" cap="none" spc="0" normalizeH="0" baseline="0" noProof="0">
                  <a:ln>
                    <a:noFill/>
                  </a:ln>
                  <a:solidFill>
                    <a:srgbClr val="0A2FB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4" name="Line 1211">
                <a:extLst>
                  <a:ext uri="{FF2B5EF4-FFF2-40B4-BE49-F238E27FC236}">
                    <a16:creationId xmlns:a16="http://schemas.microsoft.com/office/drawing/2014/main" id="{4CBF5F1E-45E6-5605-B703-FE0E5CB13E9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788276" y="2143125"/>
                <a:ext cx="0" cy="0"/>
              </a:xfrm>
              <a:prstGeom prst="line">
                <a:avLst/>
              </a:prstGeom>
              <a:grpFill/>
              <a:ln w="15875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809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1200" cap="none" spc="0" normalizeH="0" baseline="0" noProof="0">
                  <a:ln>
                    <a:noFill/>
                  </a:ln>
                  <a:solidFill>
                    <a:srgbClr val="0A2FB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5" name="Line 1212">
                <a:extLst>
                  <a:ext uri="{FF2B5EF4-FFF2-40B4-BE49-F238E27FC236}">
                    <a16:creationId xmlns:a16="http://schemas.microsoft.com/office/drawing/2014/main" id="{4CA7740F-6C8B-8056-3DA8-B6FEC48FC9F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788276" y="2143125"/>
                <a:ext cx="0" cy="0"/>
              </a:xfrm>
              <a:prstGeom prst="line">
                <a:avLst/>
              </a:prstGeom>
              <a:grpFill/>
              <a:ln w="15875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809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1200" cap="none" spc="0" normalizeH="0" baseline="0" noProof="0">
                  <a:ln>
                    <a:noFill/>
                  </a:ln>
                  <a:solidFill>
                    <a:srgbClr val="0A2FB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6" name="Freeform 1213">
                <a:extLst>
                  <a:ext uri="{FF2B5EF4-FFF2-40B4-BE49-F238E27FC236}">
                    <a16:creationId xmlns:a16="http://schemas.microsoft.com/office/drawing/2014/main" id="{24147EB9-2C64-6279-D1B0-323FE0F4CC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461251" y="1817688"/>
                <a:ext cx="466725" cy="466725"/>
              </a:xfrm>
              <a:custGeom>
                <a:avLst/>
                <a:gdLst>
                  <a:gd name="T0" fmla="*/ 400 w 799"/>
                  <a:gd name="T1" fmla="*/ 799 h 799"/>
                  <a:gd name="T2" fmla="*/ 0 w 799"/>
                  <a:gd name="T3" fmla="*/ 399 h 799"/>
                  <a:gd name="T4" fmla="*/ 400 w 799"/>
                  <a:gd name="T5" fmla="*/ 0 h 799"/>
                  <a:gd name="T6" fmla="*/ 799 w 799"/>
                  <a:gd name="T7" fmla="*/ 399 h 799"/>
                  <a:gd name="T8" fmla="*/ 400 w 799"/>
                  <a:gd name="T9" fmla="*/ 799 h 799"/>
                  <a:gd name="T10" fmla="*/ 400 w 799"/>
                  <a:gd name="T11" fmla="*/ 29 h 799"/>
                  <a:gd name="T12" fmla="*/ 29 w 799"/>
                  <a:gd name="T13" fmla="*/ 399 h 799"/>
                  <a:gd name="T14" fmla="*/ 400 w 799"/>
                  <a:gd name="T15" fmla="*/ 770 h 799"/>
                  <a:gd name="T16" fmla="*/ 770 w 799"/>
                  <a:gd name="T17" fmla="*/ 399 h 799"/>
                  <a:gd name="T18" fmla="*/ 400 w 799"/>
                  <a:gd name="T19" fmla="*/ 29 h 7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99" h="799">
                    <a:moveTo>
                      <a:pt x="400" y="799"/>
                    </a:moveTo>
                    <a:cubicBezTo>
                      <a:pt x="180" y="799"/>
                      <a:pt x="0" y="620"/>
                      <a:pt x="0" y="399"/>
                    </a:cubicBezTo>
                    <a:cubicBezTo>
                      <a:pt x="0" y="179"/>
                      <a:pt x="180" y="0"/>
                      <a:pt x="400" y="0"/>
                    </a:cubicBezTo>
                    <a:cubicBezTo>
                      <a:pt x="620" y="0"/>
                      <a:pt x="799" y="179"/>
                      <a:pt x="799" y="399"/>
                    </a:cubicBezTo>
                    <a:cubicBezTo>
                      <a:pt x="799" y="620"/>
                      <a:pt x="620" y="799"/>
                      <a:pt x="400" y="799"/>
                    </a:cubicBezTo>
                    <a:close/>
                    <a:moveTo>
                      <a:pt x="400" y="29"/>
                    </a:moveTo>
                    <a:cubicBezTo>
                      <a:pt x="195" y="29"/>
                      <a:pt x="29" y="195"/>
                      <a:pt x="29" y="399"/>
                    </a:cubicBezTo>
                    <a:cubicBezTo>
                      <a:pt x="29" y="604"/>
                      <a:pt x="195" y="770"/>
                      <a:pt x="400" y="770"/>
                    </a:cubicBezTo>
                    <a:cubicBezTo>
                      <a:pt x="604" y="770"/>
                      <a:pt x="770" y="604"/>
                      <a:pt x="770" y="399"/>
                    </a:cubicBezTo>
                    <a:cubicBezTo>
                      <a:pt x="770" y="195"/>
                      <a:pt x="604" y="29"/>
                      <a:pt x="400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809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1200" cap="none" spc="0" normalizeH="0" baseline="0" noProof="0">
                  <a:ln>
                    <a:noFill/>
                  </a:ln>
                  <a:solidFill>
                    <a:srgbClr val="0A2FB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7" name="Freeform 1214">
                <a:extLst>
                  <a:ext uri="{FF2B5EF4-FFF2-40B4-BE49-F238E27FC236}">
                    <a16:creationId xmlns:a16="http://schemas.microsoft.com/office/drawing/2014/main" id="{6CFA066B-3315-7D86-2116-B3E5B419DDE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507288" y="1863725"/>
                <a:ext cx="374650" cy="374650"/>
              </a:xfrm>
              <a:custGeom>
                <a:avLst/>
                <a:gdLst>
                  <a:gd name="T0" fmla="*/ 323 w 645"/>
                  <a:gd name="T1" fmla="*/ 645 h 645"/>
                  <a:gd name="T2" fmla="*/ 95 w 645"/>
                  <a:gd name="T3" fmla="*/ 550 h 645"/>
                  <a:gd name="T4" fmla="*/ 0 w 645"/>
                  <a:gd name="T5" fmla="*/ 322 h 645"/>
                  <a:gd name="T6" fmla="*/ 95 w 645"/>
                  <a:gd name="T7" fmla="*/ 95 h 645"/>
                  <a:gd name="T8" fmla="*/ 323 w 645"/>
                  <a:gd name="T9" fmla="*/ 0 h 645"/>
                  <a:gd name="T10" fmla="*/ 551 w 645"/>
                  <a:gd name="T11" fmla="*/ 95 h 645"/>
                  <a:gd name="T12" fmla="*/ 645 w 645"/>
                  <a:gd name="T13" fmla="*/ 322 h 645"/>
                  <a:gd name="T14" fmla="*/ 551 w 645"/>
                  <a:gd name="T15" fmla="*/ 550 h 645"/>
                  <a:gd name="T16" fmla="*/ 323 w 645"/>
                  <a:gd name="T17" fmla="*/ 645 h 645"/>
                  <a:gd name="T18" fmla="*/ 323 w 645"/>
                  <a:gd name="T19" fmla="*/ 29 h 645"/>
                  <a:gd name="T20" fmla="*/ 115 w 645"/>
                  <a:gd name="T21" fmla="*/ 115 h 645"/>
                  <a:gd name="T22" fmla="*/ 29 w 645"/>
                  <a:gd name="T23" fmla="*/ 322 h 645"/>
                  <a:gd name="T24" fmla="*/ 115 w 645"/>
                  <a:gd name="T25" fmla="*/ 530 h 645"/>
                  <a:gd name="T26" fmla="*/ 323 w 645"/>
                  <a:gd name="T27" fmla="*/ 616 h 645"/>
                  <a:gd name="T28" fmla="*/ 530 w 645"/>
                  <a:gd name="T29" fmla="*/ 530 h 645"/>
                  <a:gd name="T30" fmla="*/ 616 w 645"/>
                  <a:gd name="T31" fmla="*/ 322 h 645"/>
                  <a:gd name="T32" fmla="*/ 530 w 645"/>
                  <a:gd name="T33" fmla="*/ 115 h 645"/>
                  <a:gd name="T34" fmla="*/ 323 w 645"/>
                  <a:gd name="T35" fmla="*/ 29 h 6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45" h="645">
                    <a:moveTo>
                      <a:pt x="323" y="645"/>
                    </a:moveTo>
                    <a:cubicBezTo>
                      <a:pt x="237" y="645"/>
                      <a:pt x="156" y="611"/>
                      <a:pt x="95" y="550"/>
                    </a:cubicBezTo>
                    <a:cubicBezTo>
                      <a:pt x="34" y="489"/>
                      <a:pt x="0" y="408"/>
                      <a:pt x="0" y="322"/>
                    </a:cubicBezTo>
                    <a:cubicBezTo>
                      <a:pt x="0" y="236"/>
                      <a:pt x="34" y="155"/>
                      <a:pt x="95" y="95"/>
                    </a:cubicBezTo>
                    <a:cubicBezTo>
                      <a:pt x="156" y="34"/>
                      <a:pt x="237" y="0"/>
                      <a:pt x="323" y="0"/>
                    </a:cubicBezTo>
                    <a:cubicBezTo>
                      <a:pt x="409" y="0"/>
                      <a:pt x="490" y="34"/>
                      <a:pt x="551" y="95"/>
                    </a:cubicBezTo>
                    <a:cubicBezTo>
                      <a:pt x="611" y="155"/>
                      <a:pt x="645" y="236"/>
                      <a:pt x="645" y="322"/>
                    </a:cubicBezTo>
                    <a:cubicBezTo>
                      <a:pt x="645" y="408"/>
                      <a:pt x="611" y="489"/>
                      <a:pt x="551" y="550"/>
                    </a:cubicBezTo>
                    <a:cubicBezTo>
                      <a:pt x="490" y="611"/>
                      <a:pt x="409" y="645"/>
                      <a:pt x="323" y="645"/>
                    </a:cubicBezTo>
                    <a:close/>
                    <a:moveTo>
                      <a:pt x="323" y="29"/>
                    </a:moveTo>
                    <a:cubicBezTo>
                      <a:pt x="244" y="29"/>
                      <a:pt x="171" y="60"/>
                      <a:pt x="115" y="115"/>
                    </a:cubicBezTo>
                    <a:cubicBezTo>
                      <a:pt x="60" y="170"/>
                      <a:pt x="29" y="244"/>
                      <a:pt x="29" y="322"/>
                    </a:cubicBezTo>
                    <a:cubicBezTo>
                      <a:pt x="29" y="401"/>
                      <a:pt x="60" y="474"/>
                      <a:pt x="115" y="530"/>
                    </a:cubicBezTo>
                    <a:cubicBezTo>
                      <a:pt x="171" y="585"/>
                      <a:pt x="244" y="616"/>
                      <a:pt x="323" y="616"/>
                    </a:cubicBezTo>
                    <a:cubicBezTo>
                      <a:pt x="401" y="616"/>
                      <a:pt x="475" y="585"/>
                      <a:pt x="530" y="530"/>
                    </a:cubicBezTo>
                    <a:cubicBezTo>
                      <a:pt x="586" y="474"/>
                      <a:pt x="616" y="401"/>
                      <a:pt x="616" y="322"/>
                    </a:cubicBezTo>
                    <a:cubicBezTo>
                      <a:pt x="616" y="244"/>
                      <a:pt x="586" y="170"/>
                      <a:pt x="530" y="115"/>
                    </a:cubicBezTo>
                    <a:cubicBezTo>
                      <a:pt x="475" y="60"/>
                      <a:pt x="401" y="29"/>
                      <a:pt x="323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809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1200" cap="none" spc="0" normalizeH="0" baseline="0" noProof="0">
                  <a:ln>
                    <a:noFill/>
                  </a:ln>
                  <a:solidFill>
                    <a:srgbClr val="0A2FB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77" name="Content Placeholder 2">
              <a:extLst>
                <a:ext uri="{FF2B5EF4-FFF2-40B4-BE49-F238E27FC236}">
                  <a16:creationId xmlns:a16="http://schemas.microsoft.com/office/drawing/2014/main" id="{FA14F2D6-F9D0-4BDC-8447-5097D24010D4}"/>
                </a:ext>
              </a:extLst>
            </p:cNvPr>
            <p:cNvSpPr txBox="1">
              <a:spLocks/>
            </p:cNvSpPr>
            <p:nvPr/>
          </p:nvSpPr>
          <p:spPr>
            <a:xfrm>
              <a:off x="1583459" y="4843840"/>
              <a:ext cx="238478" cy="4212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noAutofit/>
            </a:bodyPr>
            <a:lstStyle>
              <a:lvl1pPr marL="0" indent="0" algn="l" defTabSz="1097280" rtl="0" eaLnBrk="1" latinLnBrk="0" hangingPunct="1">
                <a:lnSpc>
                  <a:spcPct val="100000"/>
                </a:lnSpc>
                <a:spcBef>
                  <a:spcPts val="1800"/>
                </a:spcBef>
                <a:buFont typeface="Arial" panose="020B0604020202020204" pitchFamily="34" charset="0"/>
                <a:buNone/>
                <a:defRPr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1097280" rtl="0" eaLnBrk="1" latinLnBrk="0" hangingPunct="1">
                <a:lnSpc>
                  <a:spcPct val="100000"/>
                </a:lnSpc>
                <a:spcBef>
                  <a:spcPts val="12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3360" indent="-213360" algn="l" defTabSz="109728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24816" indent="-211456" algn="l" defTabSz="109728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2788" indent="-266700" algn="l" defTabSz="109728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9728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13360" indent="-213360" algn="l" defTabSz="109728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4816" indent="-211456" algn="l" defTabSz="109728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‒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1097280" rtl="0" eaLnBrk="1" latinLnBrk="0" hangingPunct="1">
                <a:lnSpc>
                  <a:spcPct val="100000"/>
                </a:lnSpc>
                <a:spcBef>
                  <a:spcPts val="2160"/>
                </a:spcBef>
                <a:buFont typeface="Arial" panose="020B0604020202020204" pitchFamily="34" charset="0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2332" algn="ctr"/>
              <a:r>
                <a:rPr lang="en-US" sz="1167" b="0"/>
                <a:t>£</a:t>
              </a:r>
            </a:p>
          </p:txBody>
        </p:sp>
      </p:grp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1CB66BFE-60E8-E72E-4BDD-4A5FA4B01ED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7928" y="1682491"/>
            <a:ext cx="3550708" cy="4577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67" b="1">
                <a:solidFill>
                  <a:schemeClr val="tx2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92" name="Text Placeholder 91">
            <a:extLst>
              <a:ext uri="{FF2B5EF4-FFF2-40B4-BE49-F238E27FC236}">
                <a16:creationId xmlns:a16="http://schemas.microsoft.com/office/drawing/2014/main" id="{CDA8B211-B028-6542-32D5-7B75BDF9B5E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0276" y="2367471"/>
            <a:ext cx="670719" cy="3108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/>
            </a:lvl1pPr>
          </a:lstStyle>
          <a:p>
            <a:pPr marL="0" marR="0" lvl="0" indent="0" algn="l" defTabSz="761970" rtl="0" eaLnBrk="1" fontAlgn="auto" latinLnBrk="0" hangingPunct="1">
              <a:lnSpc>
                <a:spcPct val="90000"/>
              </a:lnSpc>
              <a:spcBef>
                <a:spcPts val="8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1</a:t>
            </a:r>
            <a:endParaRPr lang="en-GB"/>
          </a:p>
        </p:txBody>
      </p:sp>
      <p:sp>
        <p:nvSpPr>
          <p:cNvPr id="93" name="Text Placeholder 91">
            <a:extLst>
              <a:ext uri="{FF2B5EF4-FFF2-40B4-BE49-F238E27FC236}">
                <a16:creationId xmlns:a16="http://schemas.microsoft.com/office/drawing/2014/main" id="{288B3085-3A77-CA4F-A00A-789A4DF193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04891" y="2360376"/>
            <a:ext cx="670719" cy="3108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/>
            </a:lvl1pPr>
          </a:lstStyle>
          <a:p>
            <a:pPr marL="0" marR="0" lvl="0" indent="0" algn="l" defTabSz="761970" rtl="0" eaLnBrk="1" fontAlgn="auto" latinLnBrk="0" hangingPunct="1">
              <a:lnSpc>
                <a:spcPct val="90000"/>
              </a:lnSpc>
              <a:spcBef>
                <a:spcPts val="8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2</a:t>
            </a:r>
          </a:p>
          <a:p>
            <a:pPr lvl="0"/>
            <a:endParaRPr lang="en-GB"/>
          </a:p>
        </p:txBody>
      </p:sp>
      <p:sp>
        <p:nvSpPr>
          <p:cNvPr id="94" name="Text Placeholder 91">
            <a:extLst>
              <a:ext uri="{FF2B5EF4-FFF2-40B4-BE49-F238E27FC236}">
                <a16:creationId xmlns:a16="http://schemas.microsoft.com/office/drawing/2014/main" id="{7290C76C-309B-ADF1-9B33-0DAF33A246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25094" y="2358158"/>
            <a:ext cx="670719" cy="3108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/>
            </a:lvl1pPr>
          </a:lstStyle>
          <a:p>
            <a:pPr marL="0" marR="0" lvl="0" indent="0" algn="l" defTabSz="761970" rtl="0" eaLnBrk="1" fontAlgn="auto" latinLnBrk="0" hangingPunct="1">
              <a:lnSpc>
                <a:spcPct val="90000"/>
              </a:lnSpc>
              <a:spcBef>
                <a:spcPts val="8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3</a:t>
            </a:r>
          </a:p>
          <a:p>
            <a:pPr lvl="0"/>
            <a:endParaRPr lang="en-GB"/>
          </a:p>
        </p:txBody>
      </p:sp>
      <p:sp>
        <p:nvSpPr>
          <p:cNvPr id="95" name="Text Placeholder 91">
            <a:extLst>
              <a:ext uri="{FF2B5EF4-FFF2-40B4-BE49-F238E27FC236}">
                <a16:creationId xmlns:a16="http://schemas.microsoft.com/office/drawing/2014/main" id="{AF812215-324D-A2E9-1FC6-E5FFB07C90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8356" y="4196528"/>
            <a:ext cx="670719" cy="3108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/>
            </a:lvl1pPr>
          </a:lstStyle>
          <a:p>
            <a:pPr marL="0" marR="0" lvl="0" indent="0" algn="l" defTabSz="761970" rtl="0" eaLnBrk="1" fontAlgn="auto" latinLnBrk="0" hangingPunct="1">
              <a:lnSpc>
                <a:spcPct val="90000"/>
              </a:lnSpc>
              <a:spcBef>
                <a:spcPts val="8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4</a:t>
            </a:r>
          </a:p>
          <a:p>
            <a:pPr lvl="0"/>
            <a:endParaRPr lang="en-GB"/>
          </a:p>
        </p:txBody>
      </p:sp>
      <p:sp>
        <p:nvSpPr>
          <p:cNvPr id="96" name="Text Placeholder 91">
            <a:extLst>
              <a:ext uri="{FF2B5EF4-FFF2-40B4-BE49-F238E27FC236}">
                <a16:creationId xmlns:a16="http://schemas.microsoft.com/office/drawing/2014/main" id="{88B3CEDE-22C3-9912-D1E2-92A419A3A77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78714" y="4193298"/>
            <a:ext cx="670719" cy="3108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/>
            </a:lvl1pPr>
          </a:lstStyle>
          <a:p>
            <a:pPr marL="0" marR="0" lvl="0" indent="0" algn="l" defTabSz="761970" rtl="0" eaLnBrk="1" fontAlgn="auto" latinLnBrk="0" hangingPunct="1">
              <a:lnSpc>
                <a:spcPct val="90000"/>
              </a:lnSpc>
              <a:spcBef>
                <a:spcPts val="8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5</a:t>
            </a:r>
          </a:p>
          <a:p>
            <a:pPr lvl="0"/>
            <a:endParaRPr lang="en-GB"/>
          </a:p>
        </p:txBody>
      </p:sp>
      <p:sp>
        <p:nvSpPr>
          <p:cNvPr id="97" name="Text Placeholder 91">
            <a:extLst>
              <a:ext uri="{FF2B5EF4-FFF2-40B4-BE49-F238E27FC236}">
                <a16:creationId xmlns:a16="http://schemas.microsoft.com/office/drawing/2014/main" id="{507E8A63-B36A-4FED-BF28-9EEB18178AC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70230" y="4192491"/>
            <a:ext cx="670719" cy="3108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/>
            </a:lvl1pPr>
          </a:lstStyle>
          <a:p>
            <a:pPr marL="0" marR="0" lvl="0" indent="0" algn="l" defTabSz="761970" rtl="0" eaLnBrk="1" fontAlgn="auto" latinLnBrk="0" hangingPunct="1">
              <a:lnSpc>
                <a:spcPct val="90000"/>
              </a:lnSpc>
              <a:spcBef>
                <a:spcPts val="8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6</a:t>
            </a:r>
          </a:p>
          <a:p>
            <a:pPr lvl="0"/>
            <a:endParaRPr lang="en-GB"/>
          </a:p>
        </p:txBody>
      </p:sp>
      <p:sp>
        <p:nvSpPr>
          <p:cNvPr id="99" name="Text Placeholder 98">
            <a:extLst>
              <a:ext uri="{FF2B5EF4-FFF2-40B4-BE49-F238E27FC236}">
                <a16:creationId xmlns:a16="http://schemas.microsoft.com/office/drawing/2014/main" id="{1C80D1E9-D907-4098-E73A-C9E0CCD96D8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0276" y="2982097"/>
            <a:ext cx="1534223" cy="7249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/>
            </a:lvl1pPr>
          </a:lstStyle>
          <a:p>
            <a:pPr lvl="0"/>
            <a:endParaRPr lang="en-GB"/>
          </a:p>
        </p:txBody>
      </p:sp>
      <p:sp>
        <p:nvSpPr>
          <p:cNvPr id="100" name="Text Placeholder 98">
            <a:extLst>
              <a:ext uri="{FF2B5EF4-FFF2-40B4-BE49-F238E27FC236}">
                <a16:creationId xmlns:a16="http://schemas.microsoft.com/office/drawing/2014/main" id="{4945A812-BC82-19AD-23A5-6D16A385E7F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100765" y="3001886"/>
            <a:ext cx="1534223" cy="7249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/>
            </a:lvl1pPr>
          </a:lstStyle>
          <a:p>
            <a:pPr lvl="0"/>
            <a:endParaRPr lang="en-GB"/>
          </a:p>
        </p:txBody>
      </p:sp>
      <p:sp>
        <p:nvSpPr>
          <p:cNvPr id="101" name="Text Placeholder 98">
            <a:extLst>
              <a:ext uri="{FF2B5EF4-FFF2-40B4-BE49-F238E27FC236}">
                <a16:creationId xmlns:a16="http://schemas.microsoft.com/office/drawing/2014/main" id="{7C46CD6E-24D3-19A1-69E8-42757373207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908636" y="3011403"/>
            <a:ext cx="1534223" cy="7249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/>
            </a:lvl1pPr>
          </a:lstStyle>
          <a:p>
            <a:pPr lvl="0"/>
            <a:endParaRPr lang="en-GB"/>
          </a:p>
        </p:txBody>
      </p:sp>
      <p:sp>
        <p:nvSpPr>
          <p:cNvPr id="102" name="Text Placeholder 98">
            <a:extLst>
              <a:ext uri="{FF2B5EF4-FFF2-40B4-BE49-F238E27FC236}">
                <a16:creationId xmlns:a16="http://schemas.microsoft.com/office/drawing/2014/main" id="{4144177C-521F-5319-B0C4-2191E5AD5EB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78355" y="4821298"/>
            <a:ext cx="1534223" cy="7249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/>
            </a:lvl1pPr>
          </a:lstStyle>
          <a:p>
            <a:pPr lvl="0"/>
            <a:endParaRPr lang="en-GB"/>
          </a:p>
        </p:txBody>
      </p:sp>
      <p:sp>
        <p:nvSpPr>
          <p:cNvPr id="103" name="Text Placeholder 98">
            <a:extLst>
              <a:ext uri="{FF2B5EF4-FFF2-40B4-BE49-F238E27FC236}">
                <a16:creationId xmlns:a16="http://schemas.microsoft.com/office/drawing/2014/main" id="{6D58201D-00F5-C1E1-5097-3AD3E743C42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098508" y="4818773"/>
            <a:ext cx="1534223" cy="7249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/>
            </a:lvl1pPr>
          </a:lstStyle>
          <a:p>
            <a:pPr lvl="0"/>
            <a:endParaRPr lang="en-GB"/>
          </a:p>
        </p:txBody>
      </p:sp>
      <p:sp>
        <p:nvSpPr>
          <p:cNvPr id="104" name="Text Placeholder 98">
            <a:extLst>
              <a:ext uri="{FF2B5EF4-FFF2-40B4-BE49-F238E27FC236}">
                <a16:creationId xmlns:a16="http://schemas.microsoft.com/office/drawing/2014/main" id="{728603A1-0BAF-E3CC-9DD3-96AA508C0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909322" y="4825512"/>
            <a:ext cx="1534223" cy="7249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/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409041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come slide_alt layout 6_edi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0D8E8EA1-9134-E150-BCFB-DE72390072E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227667" y="2309812"/>
            <a:ext cx="418042" cy="4180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33"/>
            </a:lvl1pPr>
          </a:lstStyle>
          <a:p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B08BDC4-70CC-16CD-E1BF-63D98470A316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727691" y="0"/>
            <a:ext cx="4464309" cy="6858000"/>
          </a:xfrm>
          <a:prstGeom prst="rect">
            <a:avLst/>
          </a:prstGeom>
        </p:spPr>
        <p:txBody>
          <a:bodyPr/>
          <a:lstStyle/>
          <a:p>
            <a:pPr lvl="0"/>
            <a:endParaRPr lang="en-GB"/>
          </a:p>
        </p:txBody>
      </p:sp>
      <p:sp>
        <p:nvSpPr>
          <p:cNvPr id="2" name="Title 88">
            <a:extLst>
              <a:ext uri="{FF2B5EF4-FFF2-40B4-BE49-F238E27FC236}">
                <a16:creationId xmlns:a16="http://schemas.microsoft.com/office/drawing/2014/main" id="{8253331C-8615-4FC4-8C20-CBEF032DA3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53" y="399899"/>
            <a:ext cx="5709973" cy="864810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9EB16AA4-8A47-4822-DF51-4D80738BFB2F}"/>
              </a:ext>
            </a:extLst>
          </p:cNvPr>
          <p:cNvCxnSpPr>
            <a:cxnSpLocks/>
          </p:cNvCxnSpPr>
          <p:nvPr userDrawn="1"/>
        </p:nvCxnSpPr>
        <p:spPr>
          <a:xfrm>
            <a:off x="395552" y="2826678"/>
            <a:ext cx="116472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1A901458-0A9B-9A75-C67B-B9FB767FD2C5}"/>
              </a:ext>
            </a:extLst>
          </p:cNvPr>
          <p:cNvCxnSpPr>
            <a:cxnSpLocks/>
          </p:cNvCxnSpPr>
          <p:nvPr userDrawn="1"/>
        </p:nvCxnSpPr>
        <p:spPr>
          <a:xfrm>
            <a:off x="395552" y="4664443"/>
            <a:ext cx="116472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A9E97121-7DD6-ECB6-E217-7765D34BBA4A}"/>
              </a:ext>
            </a:extLst>
          </p:cNvPr>
          <p:cNvCxnSpPr>
            <a:cxnSpLocks/>
          </p:cNvCxnSpPr>
          <p:nvPr userDrawn="1"/>
        </p:nvCxnSpPr>
        <p:spPr>
          <a:xfrm>
            <a:off x="2166082" y="2826678"/>
            <a:ext cx="116472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F54C32F7-8519-E33A-1B71-26F1D70EA572}"/>
              </a:ext>
            </a:extLst>
          </p:cNvPr>
          <p:cNvCxnSpPr>
            <a:cxnSpLocks/>
          </p:cNvCxnSpPr>
          <p:nvPr userDrawn="1"/>
        </p:nvCxnSpPr>
        <p:spPr>
          <a:xfrm>
            <a:off x="2166082" y="4664443"/>
            <a:ext cx="116472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7D6994D8-D4CC-381B-3CD2-E435A6335FDB}"/>
              </a:ext>
            </a:extLst>
          </p:cNvPr>
          <p:cNvCxnSpPr>
            <a:cxnSpLocks/>
          </p:cNvCxnSpPr>
          <p:nvPr userDrawn="1"/>
        </p:nvCxnSpPr>
        <p:spPr>
          <a:xfrm>
            <a:off x="3970229" y="2826678"/>
            <a:ext cx="116472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C2E71BCA-9577-5C9D-B52A-73649800EA8D}"/>
              </a:ext>
            </a:extLst>
          </p:cNvPr>
          <p:cNvCxnSpPr>
            <a:cxnSpLocks/>
          </p:cNvCxnSpPr>
          <p:nvPr userDrawn="1"/>
        </p:nvCxnSpPr>
        <p:spPr>
          <a:xfrm>
            <a:off x="3970229" y="4664443"/>
            <a:ext cx="116472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1CB66BFE-60E8-E72E-4BDD-4A5FA4B01ED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7928" y="1682491"/>
            <a:ext cx="3550708" cy="4577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67" b="1">
                <a:solidFill>
                  <a:schemeClr val="tx2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92" name="Text Placeholder 91">
            <a:extLst>
              <a:ext uri="{FF2B5EF4-FFF2-40B4-BE49-F238E27FC236}">
                <a16:creationId xmlns:a16="http://schemas.microsoft.com/office/drawing/2014/main" id="{CDA8B211-B028-6542-32D5-7B75BDF9B5E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0276" y="2367471"/>
            <a:ext cx="670719" cy="3108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/>
            </a:lvl1pPr>
          </a:lstStyle>
          <a:p>
            <a:pPr marL="0" marR="0" lvl="0" indent="0" algn="l" defTabSz="761970" rtl="0" eaLnBrk="1" fontAlgn="auto" latinLnBrk="0" hangingPunct="1">
              <a:lnSpc>
                <a:spcPct val="90000"/>
              </a:lnSpc>
              <a:spcBef>
                <a:spcPts val="8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1</a:t>
            </a:r>
            <a:endParaRPr lang="en-GB"/>
          </a:p>
        </p:txBody>
      </p:sp>
      <p:sp>
        <p:nvSpPr>
          <p:cNvPr id="93" name="Text Placeholder 91">
            <a:extLst>
              <a:ext uri="{FF2B5EF4-FFF2-40B4-BE49-F238E27FC236}">
                <a16:creationId xmlns:a16="http://schemas.microsoft.com/office/drawing/2014/main" id="{288B3085-3A77-CA4F-A00A-789A4DF193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04891" y="2360376"/>
            <a:ext cx="670719" cy="3108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/>
            </a:lvl1pPr>
          </a:lstStyle>
          <a:p>
            <a:pPr marL="0" marR="0" lvl="0" indent="0" algn="l" defTabSz="761970" rtl="0" eaLnBrk="1" fontAlgn="auto" latinLnBrk="0" hangingPunct="1">
              <a:lnSpc>
                <a:spcPct val="90000"/>
              </a:lnSpc>
              <a:spcBef>
                <a:spcPts val="8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2</a:t>
            </a:r>
          </a:p>
          <a:p>
            <a:pPr lvl="0"/>
            <a:endParaRPr lang="en-GB"/>
          </a:p>
        </p:txBody>
      </p:sp>
      <p:sp>
        <p:nvSpPr>
          <p:cNvPr id="94" name="Text Placeholder 91">
            <a:extLst>
              <a:ext uri="{FF2B5EF4-FFF2-40B4-BE49-F238E27FC236}">
                <a16:creationId xmlns:a16="http://schemas.microsoft.com/office/drawing/2014/main" id="{7290C76C-309B-ADF1-9B33-0DAF33A246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25094" y="2358158"/>
            <a:ext cx="670719" cy="3108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/>
            </a:lvl1pPr>
          </a:lstStyle>
          <a:p>
            <a:pPr marL="0" marR="0" lvl="0" indent="0" algn="l" defTabSz="761970" rtl="0" eaLnBrk="1" fontAlgn="auto" latinLnBrk="0" hangingPunct="1">
              <a:lnSpc>
                <a:spcPct val="90000"/>
              </a:lnSpc>
              <a:spcBef>
                <a:spcPts val="8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3</a:t>
            </a:r>
          </a:p>
          <a:p>
            <a:pPr lvl="0"/>
            <a:endParaRPr lang="en-GB"/>
          </a:p>
        </p:txBody>
      </p:sp>
      <p:sp>
        <p:nvSpPr>
          <p:cNvPr id="95" name="Text Placeholder 91">
            <a:extLst>
              <a:ext uri="{FF2B5EF4-FFF2-40B4-BE49-F238E27FC236}">
                <a16:creationId xmlns:a16="http://schemas.microsoft.com/office/drawing/2014/main" id="{AF812215-324D-A2E9-1FC6-E5FFB07C90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8356" y="4196528"/>
            <a:ext cx="670719" cy="3108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/>
            </a:lvl1pPr>
          </a:lstStyle>
          <a:p>
            <a:pPr marL="0" marR="0" lvl="0" indent="0" algn="l" defTabSz="761970" rtl="0" eaLnBrk="1" fontAlgn="auto" latinLnBrk="0" hangingPunct="1">
              <a:lnSpc>
                <a:spcPct val="90000"/>
              </a:lnSpc>
              <a:spcBef>
                <a:spcPts val="8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4</a:t>
            </a:r>
          </a:p>
          <a:p>
            <a:pPr lvl="0"/>
            <a:endParaRPr lang="en-GB"/>
          </a:p>
        </p:txBody>
      </p:sp>
      <p:sp>
        <p:nvSpPr>
          <p:cNvPr id="96" name="Text Placeholder 91">
            <a:extLst>
              <a:ext uri="{FF2B5EF4-FFF2-40B4-BE49-F238E27FC236}">
                <a16:creationId xmlns:a16="http://schemas.microsoft.com/office/drawing/2014/main" id="{88B3CEDE-22C3-9912-D1E2-92A419A3A77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78714" y="4193298"/>
            <a:ext cx="670719" cy="3108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/>
            </a:lvl1pPr>
          </a:lstStyle>
          <a:p>
            <a:pPr marL="0" marR="0" lvl="0" indent="0" algn="l" defTabSz="761970" rtl="0" eaLnBrk="1" fontAlgn="auto" latinLnBrk="0" hangingPunct="1">
              <a:lnSpc>
                <a:spcPct val="90000"/>
              </a:lnSpc>
              <a:spcBef>
                <a:spcPts val="8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5</a:t>
            </a:r>
          </a:p>
          <a:p>
            <a:pPr lvl="0"/>
            <a:endParaRPr lang="en-GB"/>
          </a:p>
        </p:txBody>
      </p:sp>
      <p:sp>
        <p:nvSpPr>
          <p:cNvPr id="97" name="Text Placeholder 91">
            <a:extLst>
              <a:ext uri="{FF2B5EF4-FFF2-40B4-BE49-F238E27FC236}">
                <a16:creationId xmlns:a16="http://schemas.microsoft.com/office/drawing/2014/main" id="{507E8A63-B36A-4FED-BF28-9EEB18178AC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70230" y="4192491"/>
            <a:ext cx="670719" cy="3108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/>
            </a:lvl1pPr>
          </a:lstStyle>
          <a:p>
            <a:pPr marL="0" marR="0" lvl="0" indent="0" algn="l" defTabSz="761970" rtl="0" eaLnBrk="1" fontAlgn="auto" latinLnBrk="0" hangingPunct="1">
              <a:lnSpc>
                <a:spcPct val="90000"/>
              </a:lnSpc>
              <a:spcBef>
                <a:spcPts val="8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6</a:t>
            </a:r>
          </a:p>
          <a:p>
            <a:pPr lvl="0"/>
            <a:endParaRPr lang="en-GB"/>
          </a:p>
        </p:txBody>
      </p:sp>
      <p:sp>
        <p:nvSpPr>
          <p:cNvPr id="99" name="Text Placeholder 98">
            <a:extLst>
              <a:ext uri="{FF2B5EF4-FFF2-40B4-BE49-F238E27FC236}">
                <a16:creationId xmlns:a16="http://schemas.microsoft.com/office/drawing/2014/main" id="{1C80D1E9-D907-4098-E73A-C9E0CCD96D8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0276" y="2982097"/>
            <a:ext cx="1534223" cy="7249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/>
            </a:lvl1pPr>
          </a:lstStyle>
          <a:p>
            <a:pPr lvl="0"/>
            <a:endParaRPr lang="en-GB"/>
          </a:p>
        </p:txBody>
      </p:sp>
      <p:sp>
        <p:nvSpPr>
          <p:cNvPr id="100" name="Text Placeholder 98">
            <a:extLst>
              <a:ext uri="{FF2B5EF4-FFF2-40B4-BE49-F238E27FC236}">
                <a16:creationId xmlns:a16="http://schemas.microsoft.com/office/drawing/2014/main" id="{4945A812-BC82-19AD-23A5-6D16A385E7F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100765" y="3001886"/>
            <a:ext cx="1534223" cy="7249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/>
            </a:lvl1pPr>
          </a:lstStyle>
          <a:p>
            <a:pPr lvl="0"/>
            <a:endParaRPr lang="en-GB"/>
          </a:p>
        </p:txBody>
      </p:sp>
      <p:sp>
        <p:nvSpPr>
          <p:cNvPr id="101" name="Text Placeholder 98">
            <a:extLst>
              <a:ext uri="{FF2B5EF4-FFF2-40B4-BE49-F238E27FC236}">
                <a16:creationId xmlns:a16="http://schemas.microsoft.com/office/drawing/2014/main" id="{7C46CD6E-24D3-19A1-69E8-42757373207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908636" y="3011403"/>
            <a:ext cx="1534223" cy="7249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/>
            </a:lvl1pPr>
          </a:lstStyle>
          <a:p>
            <a:pPr lvl="0"/>
            <a:endParaRPr lang="en-GB"/>
          </a:p>
        </p:txBody>
      </p:sp>
      <p:sp>
        <p:nvSpPr>
          <p:cNvPr id="102" name="Text Placeholder 98">
            <a:extLst>
              <a:ext uri="{FF2B5EF4-FFF2-40B4-BE49-F238E27FC236}">
                <a16:creationId xmlns:a16="http://schemas.microsoft.com/office/drawing/2014/main" id="{4144177C-521F-5319-B0C4-2191E5AD5EB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78355" y="4821298"/>
            <a:ext cx="1534223" cy="7249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/>
            </a:lvl1pPr>
          </a:lstStyle>
          <a:p>
            <a:pPr lvl="0"/>
            <a:endParaRPr lang="en-GB"/>
          </a:p>
        </p:txBody>
      </p:sp>
      <p:sp>
        <p:nvSpPr>
          <p:cNvPr id="103" name="Text Placeholder 98">
            <a:extLst>
              <a:ext uri="{FF2B5EF4-FFF2-40B4-BE49-F238E27FC236}">
                <a16:creationId xmlns:a16="http://schemas.microsoft.com/office/drawing/2014/main" id="{6D58201D-00F5-C1E1-5097-3AD3E743C42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098508" y="4818773"/>
            <a:ext cx="1534223" cy="7249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/>
            </a:lvl1pPr>
          </a:lstStyle>
          <a:p>
            <a:pPr lvl="0"/>
            <a:endParaRPr lang="en-GB"/>
          </a:p>
        </p:txBody>
      </p:sp>
      <p:sp>
        <p:nvSpPr>
          <p:cNvPr id="104" name="Text Placeholder 98">
            <a:extLst>
              <a:ext uri="{FF2B5EF4-FFF2-40B4-BE49-F238E27FC236}">
                <a16:creationId xmlns:a16="http://schemas.microsoft.com/office/drawing/2014/main" id="{728603A1-0BAF-E3CC-9DD3-96AA508C0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909322" y="4825512"/>
            <a:ext cx="1534223" cy="7249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/>
            </a:lvl1pPr>
          </a:lstStyle>
          <a:p>
            <a:pPr lvl="0"/>
            <a:endParaRPr lang="en-GB"/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AA6B72A9-E09A-3A23-5778-B6D266BACAB3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3002626" y="2309812"/>
            <a:ext cx="418042" cy="4180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33"/>
            </a:lvl1pPr>
          </a:lstStyle>
          <a:p>
            <a:endParaRPr lang="en-GB"/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F16E30FD-651C-5362-D32B-C793493B3CAC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820050" y="2309812"/>
            <a:ext cx="418042" cy="4180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33"/>
            </a:lvl1pPr>
          </a:lstStyle>
          <a:p>
            <a:endParaRPr lang="en-GB"/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29AEE8B-3BD7-F4D4-83E3-5289C579D80B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1227667" y="4150680"/>
            <a:ext cx="418042" cy="4180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33"/>
            </a:lvl1pPr>
          </a:lstStyle>
          <a:p>
            <a:endParaRPr lang="en-GB"/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80B69E19-11D4-DC5D-EEFD-E1C1C87D2D8B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002626" y="4150680"/>
            <a:ext cx="418042" cy="4180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33"/>
            </a:lvl1pPr>
          </a:lstStyle>
          <a:p>
            <a:endParaRPr lang="en-GB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74408BAB-2DD2-C5A8-614D-2BA7388B7D8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820050" y="4150680"/>
            <a:ext cx="418042" cy="4180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33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443345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come slide_alt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2AEA0F2-B048-82FA-0254-99D2C93EB183}"/>
              </a:ext>
            </a:extLst>
          </p:cNvPr>
          <p:cNvSpPr/>
          <p:nvPr userDrawn="1"/>
        </p:nvSpPr>
        <p:spPr bwMode="auto">
          <a:xfrm>
            <a:off x="2071044" y="1462171"/>
            <a:ext cx="2624257" cy="40982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0683" tIns="40341" rIns="80683" bIns="40341" numCol="1" rtlCol="0" anchor="ctr" anchorCtr="0" compatLnSpc="1">
            <a:prstTxWarp prst="textNoShape">
              <a:avLst/>
            </a:prstTxWarp>
          </a:bodyPr>
          <a:lstStyle/>
          <a:p>
            <a:pPr algn="ctr" defTabSz="899232" fontAlgn="base">
              <a:spcBef>
                <a:spcPct val="0"/>
              </a:spcBef>
              <a:spcAft>
                <a:spcPct val="0"/>
              </a:spcAft>
            </a:pPr>
            <a:endParaRPr lang="en-US" sz="1235" b="1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A0CF22B-611D-D12A-1DD9-836AEE7DDBA0}"/>
              </a:ext>
            </a:extLst>
          </p:cNvPr>
          <p:cNvSpPr>
            <a:spLocks/>
          </p:cNvSpPr>
          <p:nvPr userDrawn="1"/>
        </p:nvSpPr>
        <p:spPr bwMode="auto">
          <a:xfrm>
            <a:off x="2071044" y="2240864"/>
            <a:ext cx="2624258" cy="1335568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52400" tIns="152400" rIns="152400" bIns="15240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IN" sz="100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D19F175-0B68-42A6-72F6-7337F06DAA41}"/>
              </a:ext>
            </a:extLst>
          </p:cNvPr>
          <p:cNvGrpSpPr/>
          <p:nvPr userDrawn="1"/>
        </p:nvGrpSpPr>
        <p:grpSpPr>
          <a:xfrm rot="10800000">
            <a:off x="3279200" y="1772861"/>
            <a:ext cx="207944" cy="542180"/>
            <a:chOff x="4237349" y="2314280"/>
            <a:chExt cx="235670" cy="614471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E427B5DA-6182-2B08-4B6C-4FD715621BDD}"/>
                </a:ext>
              </a:extLst>
            </p:cNvPr>
            <p:cNvCxnSpPr/>
            <p:nvPr/>
          </p:nvCxnSpPr>
          <p:spPr bwMode="auto">
            <a:xfrm>
              <a:off x="4355184" y="2432115"/>
              <a:ext cx="0" cy="496636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B0192207-997E-D98C-2DC3-0DAD39DDD741}"/>
                </a:ext>
              </a:extLst>
            </p:cNvPr>
            <p:cNvSpPr/>
            <p:nvPr/>
          </p:nvSpPr>
          <p:spPr bwMode="auto">
            <a:xfrm>
              <a:off x="4237349" y="2314280"/>
              <a:ext cx="235670" cy="235670"/>
            </a:xfrm>
            <a:prstGeom prst="ellipse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6819" tIns="48409" rIns="96819" bIns="48409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899232" fontAlgn="base">
                <a:spcBef>
                  <a:spcPct val="0"/>
                </a:spcBef>
                <a:spcAft>
                  <a:spcPct val="0"/>
                </a:spcAft>
              </a:pPr>
              <a:endParaRPr lang="en-US" sz="1324"/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3572C19E-EEC6-6B81-1E81-09CA6CCA09DD}"/>
                </a:ext>
              </a:extLst>
            </p:cNvPr>
            <p:cNvSpPr/>
            <p:nvPr/>
          </p:nvSpPr>
          <p:spPr bwMode="auto">
            <a:xfrm>
              <a:off x="4272262" y="2349193"/>
              <a:ext cx="165843" cy="165843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6819" tIns="48409" rIns="96819" bIns="48409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899232" fontAlgn="base">
                <a:spcBef>
                  <a:spcPct val="0"/>
                </a:spcBef>
                <a:spcAft>
                  <a:spcPct val="0"/>
                </a:spcAft>
              </a:pPr>
              <a:endParaRPr lang="en-US" sz="1324"/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F4D2D80A-9DDC-ABAB-9C5A-ECC1D7190864}"/>
              </a:ext>
            </a:extLst>
          </p:cNvPr>
          <p:cNvSpPr>
            <a:spLocks/>
          </p:cNvSpPr>
          <p:nvPr userDrawn="1"/>
        </p:nvSpPr>
        <p:spPr bwMode="auto">
          <a:xfrm>
            <a:off x="4783872" y="2242369"/>
            <a:ext cx="2624258" cy="1335568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52400" tIns="152400" rIns="152400" bIns="15240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IN" sz="100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F627880C-5C62-C257-1279-288CDF36F95A}"/>
              </a:ext>
            </a:extLst>
          </p:cNvPr>
          <p:cNvGrpSpPr/>
          <p:nvPr userDrawn="1"/>
        </p:nvGrpSpPr>
        <p:grpSpPr>
          <a:xfrm rot="10800000">
            <a:off x="5992026" y="1774368"/>
            <a:ext cx="207944" cy="542180"/>
            <a:chOff x="4237349" y="2314280"/>
            <a:chExt cx="235670" cy="614471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1DC00716-934B-A137-FE78-BCEAD6605010}"/>
                </a:ext>
              </a:extLst>
            </p:cNvPr>
            <p:cNvCxnSpPr/>
            <p:nvPr/>
          </p:nvCxnSpPr>
          <p:spPr bwMode="auto">
            <a:xfrm>
              <a:off x="4355184" y="2432115"/>
              <a:ext cx="0" cy="496636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442A79DC-4039-57DD-A220-383A9A876294}"/>
                </a:ext>
              </a:extLst>
            </p:cNvPr>
            <p:cNvSpPr/>
            <p:nvPr/>
          </p:nvSpPr>
          <p:spPr bwMode="auto">
            <a:xfrm>
              <a:off x="4237349" y="2314280"/>
              <a:ext cx="235670" cy="235670"/>
            </a:xfrm>
            <a:prstGeom prst="ellipse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6819" tIns="48409" rIns="96819" bIns="48409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899232" fontAlgn="base">
                <a:spcBef>
                  <a:spcPct val="0"/>
                </a:spcBef>
                <a:spcAft>
                  <a:spcPct val="0"/>
                </a:spcAft>
              </a:pPr>
              <a:endParaRPr lang="en-US" sz="1324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147D8879-BE2C-1088-7E32-E2B707D2A778}"/>
                </a:ext>
              </a:extLst>
            </p:cNvPr>
            <p:cNvSpPr/>
            <p:nvPr/>
          </p:nvSpPr>
          <p:spPr bwMode="auto">
            <a:xfrm>
              <a:off x="4272262" y="2349193"/>
              <a:ext cx="165843" cy="165843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6819" tIns="48409" rIns="96819" bIns="48409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899232" fontAlgn="base">
                <a:spcBef>
                  <a:spcPct val="0"/>
                </a:spcBef>
                <a:spcAft>
                  <a:spcPct val="0"/>
                </a:spcAft>
              </a:pPr>
              <a:endParaRPr lang="en-US" sz="1324"/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89FCA794-F1D2-F650-2A40-935AD83ADB6B}"/>
              </a:ext>
            </a:extLst>
          </p:cNvPr>
          <p:cNvSpPr>
            <a:spLocks/>
          </p:cNvSpPr>
          <p:nvPr userDrawn="1"/>
        </p:nvSpPr>
        <p:spPr bwMode="auto">
          <a:xfrm>
            <a:off x="7505861" y="2242372"/>
            <a:ext cx="2624258" cy="1335568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52400" tIns="152400" rIns="152400" bIns="15240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IN" sz="1000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7B09C60-5260-E13C-05E8-1163B9FBD3AA}"/>
              </a:ext>
            </a:extLst>
          </p:cNvPr>
          <p:cNvGrpSpPr/>
          <p:nvPr userDrawn="1"/>
        </p:nvGrpSpPr>
        <p:grpSpPr>
          <a:xfrm rot="10800000">
            <a:off x="8714016" y="1774368"/>
            <a:ext cx="207944" cy="542180"/>
            <a:chOff x="4237349" y="2314280"/>
            <a:chExt cx="235670" cy="614471"/>
          </a:xfrm>
        </p:grpSpPr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D7EC2154-7AF0-23BD-DF7F-8ED2789AA47E}"/>
                </a:ext>
              </a:extLst>
            </p:cNvPr>
            <p:cNvCxnSpPr/>
            <p:nvPr/>
          </p:nvCxnSpPr>
          <p:spPr bwMode="auto">
            <a:xfrm>
              <a:off x="4355184" y="2432115"/>
              <a:ext cx="0" cy="496636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6D47EACA-6902-94D5-23D5-E386D2AEE01C}"/>
                </a:ext>
              </a:extLst>
            </p:cNvPr>
            <p:cNvSpPr/>
            <p:nvPr/>
          </p:nvSpPr>
          <p:spPr bwMode="auto">
            <a:xfrm>
              <a:off x="4237349" y="2314280"/>
              <a:ext cx="235670" cy="235670"/>
            </a:xfrm>
            <a:prstGeom prst="ellipse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6819" tIns="48409" rIns="96819" bIns="48409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899232" fontAlgn="base">
                <a:spcBef>
                  <a:spcPct val="0"/>
                </a:spcBef>
                <a:spcAft>
                  <a:spcPct val="0"/>
                </a:spcAft>
              </a:pPr>
              <a:endParaRPr lang="en-US" sz="1324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0AA7C201-3BFE-0B9A-FF2C-3215EF460528}"/>
                </a:ext>
              </a:extLst>
            </p:cNvPr>
            <p:cNvSpPr/>
            <p:nvPr/>
          </p:nvSpPr>
          <p:spPr bwMode="auto">
            <a:xfrm>
              <a:off x="4272262" y="2349193"/>
              <a:ext cx="165843" cy="165843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6819" tIns="48409" rIns="96819" bIns="48409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899232" fontAlgn="base">
                <a:spcBef>
                  <a:spcPct val="0"/>
                </a:spcBef>
                <a:spcAft>
                  <a:spcPct val="0"/>
                </a:spcAft>
              </a:pPr>
              <a:endParaRPr lang="en-US" sz="1324"/>
            </a:p>
          </p:txBody>
        </p:sp>
      </p:grpSp>
      <p:sp>
        <p:nvSpPr>
          <p:cNvPr id="49" name="Rectangle 48">
            <a:extLst>
              <a:ext uri="{FF2B5EF4-FFF2-40B4-BE49-F238E27FC236}">
                <a16:creationId xmlns:a16="http://schemas.microsoft.com/office/drawing/2014/main" id="{2E66FE00-2960-0FCC-65D5-F47238FD354E}"/>
              </a:ext>
            </a:extLst>
          </p:cNvPr>
          <p:cNvSpPr/>
          <p:nvPr userDrawn="1"/>
        </p:nvSpPr>
        <p:spPr bwMode="auto">
          <a:xfrm>
            <a:off x="2071044" y="3952031"/>
            <a:ext cx="2624257" cy="409824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0683" tIns="40341" rIns="80683" bIns="40341" numCol="1" rtlCol="0" anchor="ctr" anchorCtr="0" compatLnSpc="1">
            <a:prstTxWarp prst="textNoShape">
              <a:avLst/>
            </a:prstTxWarp>
          </a:bodyPr>
          <a:lstStyle/>
          <a:p>
            <a:pPr algn="ctr" defTabSz="899232" fontAlgn="base">
              <a:spcBef>
                <a:spcPct val="0"/>
              </a:spcBef>
              <a:spcAft>
                <a:spcPct val="0"/>
              </a:spcAft>
            </a:pPr>
            <a:endParaRPr lang="en-US" sz="1235" b="1">
              <a:solidFill>
                <a:schemeClr val="bg1"/>
              </a:solidFill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CE250AF8-6962-C47F-C2C4-3AAC07BBA6BE}"/>
              </a:ext>
            </a:extLst>
          </p:cNvPr>
          <p:cNvSpPr>
            <a:spLocks/>
          </p:cNvSpPr>
          <p:nvPr userDrawn="1"/>
        </p:nvSpPr>
        <p:spPr bwMode="auto">
          <a:xfrm>
            <a:off x="2071044" y="4732230"/>
            <a:ext cx="2624258" cy="1335568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52400" tIns="152400" rIns="152400" bIns="15240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IN" sz="1000"/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77705233-AA62-6A64-EFC6-A301B298C05D}"/>
              </a:ext>
            </a:extLst>
          </p:cNvPr>
          <p:cNvGrpSpPr/>
          <p:nvPr userDrawn="1"/>
        </p:nvGrpSpPr>
        <p:grpSpPr>
          <a:xfrm rot="10800000">
            <a:off x="3279200" y="4262721"/>
            <a:ext cx="207944" cy="542180"/>
            <a:chOff x="4237349" y="2314280"/>
            <a:chExt cx="235670" cy="614471"/>
          </a:xfrm>
          <a:solidFill>
            <a:schemeClr val="accent4"/>
          </a:solidFill>
        </p:grpSpPr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C3489E84-8843-A2EE-2D2A-C57CEC1DFD89}"/>
                </a:ext>
              </a:extLst>
            </p:cNvPr>
            <p:cNvCxnSpPr/>
            <p:nvPr/>
          </p:nvCxnSpPr>
          <p:spPr bwMode="auto">
            <a:xfrm>
              <a:off x="4355184" y="2432115"/>
              <a:ext cx="0" cy="496636"/>
            </a:xfrm>
            <a:prstGeom prst="line">
              <a:avLst/>
            </a:prstGeom>
            <a:grpFill/>
            <a:ln w="1905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F8CF61BD-4630-170C-6567-D0F20FD1A4CA}"/>
                </a:ext>
              </a:extLst>
            </p:cNvPr>
            <p:cNvSpPr/>
            <p:nvPr/>
          </p:nvSpPr>
          <p:spPr bwMode="auto">
            <a:xfrm>
              <a:off x="4237349" y="2314280"/>
              <a:ext cx="235670" cy="235670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6819" tIns="48409" rIns="96819" bIns="48409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899232" fontAlgn="base">
                <a:spcBef>
                  <a:spcPct val="0"/>
                </a:spcBef>
                <a:spcAft>
                  <a:spcPct val="0"/>
                </a:spcAft>
              </a:pPr>
              <a:endParaRPr lang="en-US" sz="1324"/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03BEC40B-EB7B-2FFF-4EE9-92D880D6C9CC}"/>
                </a:ext>
              </a:extLst>
            </p:cNvPr>
            <p:cNvSpPr/>
            <p:nvPr/>
          </p:nvSpPr>
          <p:spPr bwMode="auto">
            <a:xfrm>
              <a:off x="4272262" y="2349193"/>
              <a:ext cx="165843" cy="165843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6819" tIns="48409" rIns="96819" bIns="48409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899232" fontAlgn="base">
                <a:spcBef>
                  <a:spcPct val="0"/>
                </a:spcBef>
                <a:spcAft>
                  <a:spcPct val="0"/>
                </a:spcAft>
              </a:pPr>
              <a:endParaRPr lang="en-US" sz="1324"/>
            </a:p>
          </p:txBody>
        </p:sp>
      </p:grpSp>
      <p:sp>
        <p:nvSpPr>
          <p:cNvPr id="66" name="Rectangle 65">
            <a:extLst>
              <a:ext uri="{FF2B5EF4-FFF2-40B4-BE49-F238E27FC236}">
                <a16:creationId xmlns:a16="http://schemas.microsoft.com/office/drawing/2014/main" id="{F2414886-90D1-6E31-F27E-E41A5DF3140C}"/>
              </a:ext>
            </a:extLst>
          </p:cNvPr>
          <p:cNvSpPr/>
          <p:nvPr userDrawn="1"/>
        </p:nvSpPr>
        <p:spPr bwMode="auto">
          <a:xfrm>
            <a:off x="4783872" y="4733736"/>
            <a:ext cx="2624258" cy="1335568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52400" tIns="152400" rIns="152400" bIns="15240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IN" sz="1000"/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6651C32F-A254-EA48-BDB4-B1F7E7A182D2}"/>
              </a:ext>
            </a:extLst>
          </p:cNvPr>
          <p:cNvGrpSpPr/>
          <p:nvPr userDrawn="1"/>
        </p:nvGrpSpPr>
        <p:grpSpPr>
          <a:xfrm rot="10800000">
            <a:off x="5992026" y="4264227"/>
            <a:ext cx="207944" cy="542180"/>
            <a:chOff x="4237349" y="2314280"/>
            <a:chExt cx="235670" cy="614471"/>
          </a:xfrm>
        </p:grpSpPr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61FE8F9B-97EB-A70D-C7E3-8BC46581E4D0}"/>
                </a:ext>
              </a:extLst>
            </p:cNvPr>
            <p:cNvCxnSpPr/>
            <p:nvPr/>
          </p:nvCxnSpPr>
          <p:spPr bwMode="auto">
            <a:xfrm>
              <a:off x="4355184" y="2432115"/>
              <a:ext cx="0" cy="496636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DF0877AA-97AC-B209-EAFF-3F271D568BF8}"/>
                </a:ext>
              </a:extLst>
            </p:cNvPr>
            <p:cNvSpPr/>
            <p:nvPr/>
          </p:nvSpPr>
          <p:spPr bwMode="auto">
            <a:xfrm>
              <a:off x="4237349" y="2314280"/>
              <a:ext cx="235670" cy="23567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6819" tIns="48409" rIns="96819" bIns="48409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899232" fontAlgn="base">
                <a:spcBef>
                  <a:spcPct val="0"/>
                </a:spcBef>
                <a:spcAft>
                  <a:spcPct val="0"/>
                </a:spcAft>
              </a:pPr>
              <a:endParaRPr lang="en-US" sz="1324"/>
            </a:p>
          </p:txBody>
        </p:sp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83CD6ED1-DC68-0236-1439-87059A3E5C00}"/>
                </a:ext>
              </a:extLst>
            </p:cNvPr>
            <p:cNvSpPr/>
            <p:nvPr/>
          </p:nvSpPr>
          <p:spPr bwMode="auto">
            <a:xfrm>
              <a:off x="4272262" y="2349193"/>
              <a:ext cx="165843" cy="165843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6819" tIns="48409" rIns="96819" bIns="48409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899232" fontAlgn="base">
                <a:spcBef>
                  <a:spcPct val="0"/>
                </a:spcBef>
                <a:spcAft>
                  <a:spcPct val="0"/>
                </a:spcAft>
              </a:pPr>
              <a:endParaRPr lang="en-US" sz="1324"/>
            </a:p>
          </p:txBody>
        </p:sp>
      </p:grpSp>
      <p:sp>
        <p:nvSpPr>
          <p:cNvPr id="91" name="Rectangle 90">
            <a:extLst>
              <a:ext uri="{FF2B5EF4-FFF2-40B4-BE49-F238E27FC236}">
                <a16:creationId xmlns:a16="http://schemas.microsoft.com/office/drawing/2014/main" id="{6D1B7348-C426-6B18-1F55-5A86B119373A}"/>
              </a:ext>
            </a:extLst>
          </p:cNvPr>
          <p:cNvSpPr/>
          <p:nvPr userDrawn="1"/>
        </p:nvSpPr>
        <p:spPr bwMode="auto">
          <a:xfrm>
            <a:off x="7505861" y="4732230"/>
            <a:ext cx="2624258" cy="1335568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52400" tIns="152400" rIns="152400" bIns="15240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IN" sz="1000"/>
          </a:p>
        </p:txBody>
      </p:sp>
      <p:grpSp>
        <p:nvGrpSpPr>
          <p:cNvPr id="98" name="Group 97">
            <a:extLst>
              <a:ext uri="{FF2B5EF4-FFF2-40B4-BE49-F238E27FC236}">
                <a16:creationId xmlns:a16="http://schemas.microsoft.com/office/drawing/2014/main" id="{DA2FE750-43D4-2601-1FCA-3B387B2E658E}"/>
              </a:ext>
            </a:extLst>
          </p:cNvPr>
          <p:cNvGrpSpPr/>
          <p:nvPr userDrawn="1"/>
        </p:nvGrpSpPr>
        <p:grpSpPr>
          <a:xfrm rot="10800000">
            <a:off x="8714016" y="4264227"/>
            <a:ext cx="207944" cy="542180"/>
            <a:chOff x="4237349" y="2314280"/>
            <a:chExt cx="235670" cy="614471"/>
          </a:xfrm>
        </p:grpSpPr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75274C6-4313-6C7A-1C14-32D0D2414CD2}"/>
                </a:ext>
              </a:extLst>
            </p:cNvPr>
            <p:cNvCxnSpPr/>
            <p:nvPr/>
          </p:nvCxnSpPr>
          <p:spPr bwMode="auto">
            <a:xfrm>
              <a:off x="4355184" y="2432115"/>
              <a:ext cx="0" cy="496636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58565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ADE8565D-0989-EF72-1FE2-6C81DEB54540}"/>
                </a:ext>
              </a:extLst>
            </p:cNvPr>
            <p:cNvSpPr/>
            <p:nvPr/>
          </p:nvSpPr>
          <p:spPr bwMode="auto">
            <a:xfrm>
              <a:off x="4237349" y="2314280"/>
              <a:ext cx="235670" cy="235670"/>
            </a:xfrm>
            <a:prstGeom prst="ellipse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6819" tIns="48409" rIns="96819" bIns="48409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899232" fontAlgn="base">
                <a:spcBef>
                  <a:spcPct val="0"/>
                </a:spcBef>
                <a:spcAft>
                  <a:spcPct val="0"/>
                </a:spcAft>
              </a:pPr>
              <a:endParaRPr lang="en-US" sz="1324"/>
            </a:p>
          </p:txBody>
        </p:sp>
        <p:sp>
          <p:nvSpPr>
            <p:cNvPr id="107" name="Oval 106">
              <a:extLst>
                <a:ext uri="{FF2B5EF4-FFF2-40B4-BE49-F238E27FC236}">
                  <a16:creationId xmlns:a16="http://schemas.microsoft.com/office/drawing/2014/main" id="{FC41061B-4757-5BB3-A397-BE11D7F0E0A9}"/>
                </a:ext>
              </a:extLst>
            </p:cNvPr>
            <p:cNvSpPr/>
            <p:nvPr/>
          </p:nvSpPr>
          <p:spPr bwMode="auto">
            <a:xfrm>
              <a:off x="4272262" y="2349193"/>
              <a:ext cx="165843" cy="165843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6819" tIns="48409" rIns="96819" bIns="48409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899232" fontAlgn="base">
                <a:spcBef>
                  <a:spcPct val="0"/>
                </a:spcBef>
                <a:spcAft>
                  <a:spcPct val="0"/>
                </a:spcAft>
              </a:pPr>
              <a:endParaRPr lang="en-US" sz="1324"/>
            </a:p>
          </p:txBody>
        </p:sp>
      </p:grpSp>
      <p:sp>
        <p:nvSpPr>
          <p:cNvPr id="108" name="Rectangle 107">
            <a:extLst>
              <a:ext uri="{FF2B5EF4-FFF2-40B4-BE49-F238E27FC236}">
                <a16:creationId xmlns:a16="http://schemas.microsoft.com/office/drawing/2014/main" id="{97D1869E-2FF5-1977-2C0C-D4F3D0346A53}"/>
              </a:ext>
            </a:extLst>
          </p:cNvPr>
          <p:cNvSpPr/>
          <p:nvPr userDrawn="1"/>
        </p:nvSpPr>
        <p:spPr bwMode="auto">
          <a:xfrm>
            <a:off x="4783871" y="1463677"/>
            <a:ext cx="2624257" cy="409824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0683" tIns="40341" rIns="80683" bIns="40341" numCol="1" rtlCol="0" anchor="ctr" anchorCtr="0" compatLnSpc="1">
            <a:prstTxWarp prst="textNoShape">
              <a:avLst/>
            </a:prstTxWarp>
          </a:bodyPr>
          <a:lstStyle/>
          <a:p>
            <a:pPr algn="ctr" defTabSz="899232" fontAlgn="base">
              <a:spcBef>
                <a:spcPct val="0"/>
              </a:spcBef>
              <a:spcAft>
                <a:spcPct val="0"/>
              </a:spcAft>
            </a:pPr>
            <a:endParaRPr lang="en-US" sz="1235" b="1">
              <a:solidFill>
                <a:schemeClr val="bg1"/>
              </a:solidFill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42B26C4D-518F-7691-88F9-E31E225EFABF}"/>
              </a:ext>
            </a:extLst>
          </p:cNvPr>
          <p:cNvSpPr/>
          <p:nvPr userDrawn="1"/>
        </p:nvSpPr>
        <p:spPr bwMode="auto">
          <a:xfrm>
            <a:off x="4768467" y="3953537"/>
            <a:ext cx="2624257" cy="409824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0683" tIns="40341" rIns="80683" bIns="40341" numCol="1" rtlCol="0" anchor="ctr" anchorCtr="0" compatLnSpc="1">
            <a:prstTxWarp prst="textNoShape">
              <a:avLst/>
            </a:prstTxWarp>
          </a:bodyPr>
          <a:lstStyle/>
          <a:p>
            <a:pPr algn="ctr" defTabSz="899232" fontAlgn="base">
              <a:spcBef>
                <a:spcPct val="0"/>
              </a:spcBef>
              <a:spcAft>
                <a:spcPct val="0"/>
              </a:spcAft>
            </a:pPr>
            <a:endParaRPr lang="en-US" sz="1235" b="1"/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1283AD3D-E732-8509-CAE8-3E5B45EB5F40}"/>
              </a:ext>
            </a:extLst>
          </p:cNvPr>
          <p:cNvSpPr/>
          <p:nvPr userDrawn="1"/>
        </p:nvSpPr>
        <p:spPr bwMode="auto">
          <a:xfrm>
            <a:off x="7505861" y="3953537"/>
            <a:ext cx="2624257" cy="409824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0683" tIns="40341" rIns="80683" bIns="40341" numCol="1" rtlCol="0" anchor="ctr" anchorCtr="0" compatLnSpc="1">
            <a:prstTxWarp prst="textNoShape">
              <a:avLst/>
            </a:prstTxWarp>
          </a:bodyPr>
          <a:lstStyle/>
          <a:p>
            <a:pPr algn="ctr" defTabSz="899232" fontAlgn="base">
              <a:spcBef>
                <a:spcPct val="0"/>
              </a:spcBef>
              <a:spcAft>
                <a:spcPct val="0"/>
              </a:spcAft>
            </a:pPr>
            <a:endParaRPr lang="en-US" sz="1235" b="1">
              <a:solidFill>
                <a:schemeClr val="bg1"/>
              </a:solidFill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77D5F0BB-4EC0-2C52-3B14-A4F1074F773A}"/>
              </a:ext>
            </a:extLst>
          </p:cNvPr>
          <p:cNvSpPr/>
          <p:nvPr userDrawn="1"/>
        </p:nvSpPr>
        <p:spPr bwMode="auto">
          <a:xfrm>
            <a:off x="7505861" y="1463677"/>
            <a:ext cx="2624257" cy="409824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0683" tIns="40341" rIns="80683" bIns="40341" numCol="1" rtlCol="0" anchor="ctr" anchorCtr="0" compatLnSpc="1">
            <a:prstTxWarp prst="textNoShape">
              <a:avLst/>
            </a:prstTxWarp>
          </a:bodyPr>
          <a:lstStyle/>
          <a:p>
            <a:pPr algn="ctr" defTabSz="899232" fontAlgn="base">
              <a:spcBef>
                <a:spcPct val="0"/>
              </a:spcBef>
              <a:spcAft>
                <a:spcPct val="0"/>
              </a:spcAft>
            </a:pPr>
            <a:endParaRPr lang="en-US" sz="1235" b="1">
              <a:solidFill>
                <a:schemeClr val="bg1"/>
              </a:solidFill>
            </a:endParaRPr>
          </a:p>
        </p:txBody>
      </p:sp>
      <p:sp>
        <p:nvSpPr>
          <p:cNvPr id="112" name="Title 1">
            <a:extLst>
              <a:ext uri="{FF2B5EF4-FFF2-40B4-BE49-F238E27FC236}">
                <a16:creationId xmlns:a16="http://schemas.microsoft.com/office/drawing/2014/main" id="{E53657C7-A1D1-BF77-4F5B-B83AE6C75C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53" y="399899"/>
            <a:ext cx="11400896" cy="864810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116" name="Text Placeholder 115">
            <a:extLst>
              <a:ext uri="{FF2B5EF4-FFF2-40B4-BE49-F238E27FC236}">
                <a16:creationId xmlns:a16="http://schemas.microsoft.com/office/drawing/2014/main" id="{B7BEA813-2950-0E91-4302-FD72D1DE6D3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74161" y="2218678"/>
            <a:ext cx="2611974" cy="1335568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1000"/>
            </a:lvl1pPr>
          </a:lstStyle>
          <a:p>
            <a:pPr lvl="0"/>
            <a:endParaRPr lang="en-GB"/>
          </a:p>
        </p:txBody>
      </p:sp>
      <p:sp>
        <p:nvSpPr>
          <p:cNvPr id="117" name="Text Placeholder 115">
            <a:extLst>
              <a:ext uri="{FF2B5EF4-FFF2-40B4-BE49-F238E27FC236}">
                <a16:creationId xmlns:a16="http://schemas.microsoft.com/office/drawing/2014/main" id="{EDD2839C-5E06-8D50-6725-DEF4E7DD47C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93031" y="2247140"/>
            <a:ext cx="2611974" cy="1335568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1000"/>
            </a:lvl1pPr>
          </a:lstStyle>
          <a:p>
            <a:pPr lvl="0"/>
            <a:endParaRPr lang="en-GB"/>
          </a:p>
        </p:txBody>
      </p:sp>
      <p:sp>
        <p:nvSpPr>
          <p:cNvPr id="118" name="Text Placeholder 115">
            <a:extLst>
              <a:ext uri="{FF2B5EF4-FFF2-40B4-BE49-F238E27FC236}">
                <a16:creationId xmlns:a16="http://schemas.microsoft.com/office/drawing/2014/main" id="{6AC77F10-95A5-F52F-E62E-1AFC770962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512001" y="2236679"/>
            <a:ext cx="2611974" cy="1335568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1000"/>
            </a:lvl1pPr>
          </a:lstStyle>
          <a:p>
            <a:pPr lvl="0"/>
            <a:endParaRPr lang="en-GB"/>
          </a:p>
        </p:txBody>
      </p:sp>
      <p:sp>
        <p:nvSpPr>
          <p:cNvPr id="119" name="Text Placeholder 115">
            <a:extLst>
              <a:ext uri="{FF2B5EF4-FFF2-40B4-BE49-F238E27FC236}">
                <a16:creationId xmlns:a16="http://schemas.microsoft.com/office/drawing/2014/main" id="{7B4AF2EA-106C-BF9C-74F4-02D08C3EC73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083327" y="4737454"/>
            <a:ext cx="2611974" cy="1335568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1000"/>
            </a:lvl1pPr>
          </a:lstStyle>
          <a:p>
            <a:pPr lvl="0"/>
            <a:endParaRPr lang="en-GB"/>
          </a:p>
        </p:txBody>
      </p:sp>
      <p:sp>
        <p:nvSpPr>
          <p:cNvPr id="120" name="Text Placeholder 115">
            <a:extLst>
              <a:ext uri="{FF2B5EF4-FFF2-40B4-BE49-F238E27FC236}">
                <a16:creationId xmlns:a16="http://schemas.microsoft.com/office/drawing/2014/main" id="{F8081A22-68D0-21B9-7C93-52D17786973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74608" y="4735667"/>
            <a:ext cx="2611974" cy="1335568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1000"/>
            </a:lvl1pPr>
          </a:lstStyle>
          <a:p>
            <a:pPr lvl="0"/>
            <a:endParaRPr lang="en-GB"/>
          </a:p>
        </p:txBody>
      </p:sp>
      <p:sp>
        <p:nvSpPr>
          <p:cNvPr id="121" name="Text Placeholder 115">
            <a:extLst>
              <a:ext uri="{FF2B5EF4-FFF2-40B4-BE49-F238E27FC236}">
                <a16:creationId xmlns:a16="http://schemas.microsoft.com/office/drawing/2014/main" id="{B9B60EB2-1672-A170-DEF1-8325E87CD6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05861" y="4726539"/>
            <a:ext cx="2611974" cy="1335568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1000"/>
            </a:lvl1pPr>
          </a:lstStyle>
          <a:p>
            <a:pPr lvl="0"/>
            <a:endParaRPr lang="en-GB"/>
          </a:p>
        </p:txBody>
      </p:sp>
      <p:sp>
        <p:nvSpPr>
          <p:cNvPr id="123" name="Text Placeholder 122">
            <a:extLst>
              <a:ext uri="{FF2B5EF4-FFF2-40B4-BE49-F238E27FC236}">
                <a16:creationId xmlns:a16="http://schemas.microsoft.com/office/drawing/2014/main" id="{4B6DB175-1942-8BD3-33B1-5D4A72712F9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62428" y="1463146"/>
            <a:ext cx="2632604" cy="40878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33"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24" name="Text Placeholder 122">
            <a:extLst>
              <a:ext uri="{FF2B5EF4-FFF2-40B4-BE49-F238E27FC236}">
                <a16:creationId xmlns:a16="http://schemas.microsoft.com/office/drawing/2014/main" id="{97950976-B7AC-700F-C580-205234FC81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4608" y="1462692"/>
            <a:ext cx="2632604" cy="40878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33"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25" name="Text Placeholder 122">
            <a:extLst>
              <a:ext uri="{FF2B5EF4-FFF2-40B4-BE49-F238E27FC236}">
                <a16:creationId xmlns:a16="http://schemas.microsoft.com/office/drawing/2014/main" id="{3DD65062-A2FE-2C76-E4CD-445082F0BE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484591" y="1462692"/>
            <a:ext cx="2632604" cy="40878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33"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26" name="Text Placeholder 122">
            <a:extLst>
              <a:ext uri="{FF2B5EF4-FFF2-40B4-BE49-F238E27FC236}">
                <a16:creationId xmlns:a16="http://schemas.microsoft.com/office/drawing/2014/main" id="{9BCACAEE-3DEA-FDD4-A496-09675C151E1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061883" y="3954471"/>
            <a:ext cx="2632604" cy="40878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33"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27" name="Text Placeholder 122">
            <a:extLst>
              <a:ext uri="{FF2B5EF4-FFF2-40B4-BE49-F238E27FC236}">
                <a16:creationId xmlns:a16="http://schemas.microsoft.com/office/drawing/2014/main" id="{2A5CC999-2A89-6423-04A4-0392B55214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74607" y="3952551"/>
            <a:ext cx="2632604" cy="40878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33" b="1">
                <a:solidFill>
                  <a:schemeClr val="tx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30" name="Text Placeholder 122">
            <a:extLst>
              <a:ext uri="{FF2B5EF4-FFF2-40B4-BE49-F238E27FC236}">
                <a16:creationId xmlns:a16="http://schemas.microsoft.com/office/drawing/2014/main" id="{68D62271-0A3F-0902-3746-89425C79A8A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491371" y="3946808"/>
            <a:ext cx="2632604" cy="40878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33"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786780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1" y="2060575"/>
            <a:ext cx="5513917" cy="40655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48919" y="2060575"/>
            <a:ext cx="5516033" cy="40655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6450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-Pattern-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153A4BC6-7E8A-809D-2D8C-B0A522E6466E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-1" y="1"/>
            <a:ext cx="12192000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12DF22C9-85A5-87F1-1854-5C7AE949342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5165" y="2371238"/>
            <a:ext cx="11701669" cy="719689"/>
          </a:xfrm>
        </p:spPr>
        <p:txBody>
          <a:bodyPr anchor="t">
            <a:noAutofit/>
          </a:bodyPr>
          <a:lstStyle>
            <a:lvl1pPr algn="ctr"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BC0EB8F4-E905-DB1E-41FF-5C464A677D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3999" y="3195226"/>
            <a:ext cx="9144000" cy="528002"/>
          </a:xfrm>
        </p:spPr>
        <p:txBody>
          <a:bodyPr/>
          <a:lstStyle>
            <a:lvl1pPr marL="0" indent="0" algn="ctr">
              <a:buNone/>
              <a:defRPr sz="2400" b="0" i="0">
                <a:solidFill>
                  <a:schemeClr val="tx1"/>
                </a:solidFill>
                <a:latin typeface="Bagoss Standard" panose="020B0504060102020204" pitchFamily="34" charset="77"/>
                <a:ea typeface="Bagoss Standard" panose="020B0504060102020204" pitchFamily="34" charset="77"/>
                <a:cs typeface="Bagoss Standard" panose="020B0504060102020204" pitchFamily="34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3714624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718114-9CCF-0709-31A6-E5301F6DD44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95553" y="1529293"/>
            <a:ext cx="5531760" cy="4542896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defRPr b="0"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itle 5">
            <a:extLst>
              <a:ext uri="{FF2B5EF4-FFF2-40B4-BE49-F238E27FC236}">
                <a16:creationId xmlns:a16="http://schemas.microsoft.com/office/drawing/2014/main" id="{7BECBD07-963A-029C-EC39-49000F2149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54" y="399899"/>
            <a:ext cx="11400896" cy="864810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F80D92E7-CD05-CE5D-A7EC-CC4E1379228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264688" y="1529293"/>
            <a:ext cx="5531760" cy="4542896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defRPr b="0"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6928766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lt desig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screen shot of a video game&#10;&#10;Description automatically generated">
            <a:extLst>
              <a:ext uri="{FF2B5EF4-FFF2-40B4-BE49-F238E27FC236}">
                <a16:creationId xmlns:a16="http://schemas.microsoft.com/office/drawing/2014/main" id="{73D221B2-9E06-766B-613D-159D9D7F39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 Placeholder 29">
            <a:extLst>
              <a:ext uri="{FF2B5EF4-FFF2-40B4-BE49-F238E27FC236}">
                <a16:creationId xmlns:a16="http://schemas.microsoft.com/office/drawing/2014/main" id="{8F6BCDDC-7756-A018-6CE2-6F99D449E09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3711" y="5077294"/>
            <a:ext cx="7236479" cy="240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33" b="1">
                <a:solidFill>
                  <a:schemeClr val="accent4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6" name="Text Placeholder 45">
            <a:extLst>
              <a:ext uri="{FF2B5EF4-FFF2-40B4-BE49-F238E27FC236}">
                <a16:creationId xmlns:a16="http://schemas.microsoft.com/office/drawing/2014/main" id="{BA72F635-0BE6-0363-9169-64C6CD980D1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93715" y="5326239"/>
            <a:ext cx="7236479" cy="8005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pPr algn="l">
              <a:lnSpc>
                <a:spcPct val="100000"/>
              </a:lnSpc>
            </a:pPr>
            <a:endParaRPr lang="en-IN" sz="100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7" name="Text Placeholder 29">
            <a:extLst>
              <a:ext uri="{FF2B5EF4-FFF2-40B4-BE49-F238E27FC236}">
                <a16:creationId xmlns:a16="http://schemas.microsoft.com/office/drawing/2014/main" id="{6068B8FF-23D6-B92A-816B-CA32E649928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3711" y="3970410"/>
            <a:ext cx="7236479" cy="240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33" b="1">
                <a:solidFill>
                  <a:schemeClr val="accent3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8" name="Text Placeholder 45">
            <a:extLst>
              <a:ext uri="{FF2B5EF4-FFF2-40B4-BE49-F238E27FC236}">
                <a16:creationId xmlns:a16="http://schemas.microsoft.com/office/drawing/2014/main" id="{66759A88-D7C7-C999-24B9-4B3107C1EC9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93715" y="4219354"/>
            <a:ext cx="7236479" cy="8005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pPr algn="l">
              <a:lnSpc>
                <a:spcPct val="100000"/>
              </a:lnSpc>
            </a:pPr>
            <a:endParaRPr lang="en-IN" sz="100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9" name="Text Placeholder 29">
            <a:extLst>
              <a:ext uri="{FF2B5EF4-FFF2-40B4-BE49-F238E27FC236}">
                <a16:creationId xmlns:a16="http://schemas.microsoft.com/office/drawing/2014/main" id="{8587017F-3FF6-D07B-F622-534CB0D0D65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93711" y="2830326"/>
            <a:ext cx="7236479" cy="240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33" b="1">
                <a:solidFill>
                  <a:schemeClr val="accent2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0" name="Text Placeholder 45">
            <a:extLst>
              <a:ext uri="{FF2B5EF4-FFF2-40B4-BE49-F238E27FC236}">
                <a16:creationId xmlns:a16="http://schemas.microsoft.com/office/drawing/2014/main" id="{5419C861-0532-6FDD-E7C6-5EACA75E1AB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93715" y="3079271"/>
            <a:ext cx="7236479" cy="8005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pPr algn="l">
              <a:lnSpc>
                <a:spcPct val="100000"/>
              </a:lnSpc>
            </a:pPr>
            <a:endParaRPr lang="en-IN" sz="100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11" name="Text Placeholder 29">
            <a:extLst>
              <a:ext uri="{FF2B5EF4-FFF2-40B4-BE49-F238E27FC236}">
                <a16:creationId xmlns:a16="http://schemas.microsoft.com/office/drawing/2014/main" id="{BBA5FC49-50D9-0081-1D19-95CE429B3F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93711" y="1711708"/>
            <a:ext cx="7236479" cy="240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33" b="1">
                <a:solidFill>
                  <a:schemeClr val="accent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2" name="Text Placeholder 45">
            <a:extLst>
              <a:ext uri="{FF2B5EF4-FFF2-40B4-BE49-F238E27FC236}">
                <a16:creationId xmlns:a16="http://schemas.microsoft.com/office/drawing/2014/main" id="{63746FA7-139A-87BE-DA7D-89CEBD2B3B7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93715" y="1960653"/>
            <a:ext cx="7236479" cy="8005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pPr algn="l">
              <a:lnSpc>
                <a:spcPct val="100000"/>
              </a:lnSpc>
            </a:pPr>
            <a:endParaRPr lang="en-IN" sz="100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CA5D4736-A3A0-1449-F138-C2B043A56F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0653" y="399899"/>
            <a:ext cx="7359540" cy="86481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587594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1BF8FE-0E1C-CBD1-A1D0-1BDE7488C00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434419" y="1529292"/>
            <a:ext cx="6397255" cy="4542896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defRPr b="0"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itle 5">
            <a:extLst>
              <a:ext uri="{FF2B5EF4-FFF2-40B4-BE49-F238E27FC236}">
                <a16:creationId xmlns:a16="http://schemas.microsoft.com/office/drawing/2014/main" id="{04E0DB22-7EB6-CCB7-91C7-40D942C480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34420" y="399899"/>
            <a:ext cx="6397255" cy="864810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31886DA-7AD9-0EE1-5494-F36B6DC1A00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" y="0"/>
            <a:ext cx="5003209" cy="68580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341522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_2 right_3 fac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Picture Placeholder 49">
            <a:extLst>
              <a:ext uri="{FF2B5EF4-FFF2-40B4-BE49-F238E27FC236}">
                <a16:creationId xmlns:a16="http://schemas.microsoft.com/office/drawing/2014/main" id="{261FBC03-846A-0FB5-53E0-540F5740B89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702553" y="0"/>
            <a:ext cx="3497385" cy="338137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51" name="Picture Placeholder 49">
            <a:extLst>
              <a:ext uri="{FF2B5EF4-FFF2-40B4-BE49-F238E27FC236}">
                <a16:creationId xmlns:a16="http://schemas.microsoft.com/office/drawing/2014/main" id="{1CEC2990-4290-BC20-B17D-CD2B7F70552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702553" y="3381375"/>
            <a:ext cx="3497385" cy="34766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DC62CF7B-8F8B-1594-34AE-41892425108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8028" y="1653037"/>
            <a:ext cx="7149042" cy="39819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BA200E65-A1E2-F90B-39A7-25644EC90E1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8240" y="2204211"/>
            <a:ext cx="7149042" cy="791438"/>
          </a:xfrm>
          <a:prstGeom prst="rect">
            <a:avLst/>
          </a:prstGeom>
        </p:spPr>
        <p:txBody>
          <a:bodyPr/>
          <a:lstStyle>
            <a:lvl1pPr marL="238115" indent="-238115">
              <a:buFont typeface="Arial" panose="020B0604020202020204" pitchFamily="34" charset="0"/>
              <a:buChar char="•"/>
              <a:defRPr sz="1167"/>
            </a:lvl1pPr>
          </a:lstStyle>
          <a:p>
            <a:pPr lvl="0"/>
            <a:endParaRPr lang="en-GB"/>
          </a:p>
        </p:txBody>
      </p:sp>
      <p:sp>
        <p:nvSpPr>
          <p:cNvPr id="29" name="Title 2">
            <a:extLst>
              <a:ext uri="{FF2B5EF4-FFF2-40B4-BE49-F238E27FC236}">
                <a16:creationId xmlns:a16="http://schemas.microsoft.com/office/drawing/2014/main" id="{74F4A5DD-52A4-7608-2D5D-A1B7C9C759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799" y="399899"/>
            <a:ext cx="7073690" cy="86481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45" name="Text Placeholder 41">
            <a:extLst>
              <a:ext uri="{FF2B5EF4-FFF2-40B4-BE49-F238E27FC236}">
                <a16:creationId xmlns:a16="http://schemas.microsoft.com/office/drawing/2014/main" id="{225FC6D6-5511-E1F0-1E08-66EDE299A9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8028" y="3306389"/>
            <a:ext cx="7149042" cy="39819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CA332303-8555-377F-3A53-7112A4BCADE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8240" y="3857563"/>
            <a:ext cx="7149042" cy="791438"/>
          </a:xfrm>
          <a:prstGeom prst="rect">
            <a:avLst/>
          </a:prstGeom>
        </p:spPr>
        <p:txBody>
          <a:bodyPr/>
          <a:lstStyle>
            <a:lvl1pPr marL="238115" indent="-238115">
              <a:buFont typeface="Arial" panose="020B0604020202020204" pitchFamily="34" charset="0"/>
              <a:buChar char="•"/>
              <a:defRPr sz="1167"/>
            </a:lvl1pPr>
          </a:lstStyle>
          <a:p>
            <a:pPr lvl="0"/>
            <a:endParaRPr lang="en-GB"/>
          </a:p>
        </p:txBody>
      </p:sp>
      <p:sp>
        <p:nvSpPr>
          <p:cNvPr id="47" name="Text Placeholder 41">
            <a:extLst>
              <a:ext uri="{FF2B5EF4-FFF2-40B4-BE49-F238E27FC236}">
                <a16:creationId xmlns:a16="http://schemas.microsoft.com/office/drawing/2014/main" id="{AF12D644-5ABC-D999-8342-99F48AF770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8028" y="4959740"/>
            <a:ext cx="7149042" cy="39819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accent3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48" name="Text Placeholder 43">
            <a:extLst>
              <a:ext uri="{FF2B5EF4-FFF2-40B4-BE49-F238E27FC236}">
                <a16:creationId xmlns:a16="http://schemas.microsoft.com/office/drawing/2014/main" id="{1BC47093-6064-AA22-BCA7-8154AD1629A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8240" y="5510914"/>
            <a:ext cx="7149042" cy="791438"/>
          </a:xfrm>
          <a:prstGeom prst="rect">
            <a:avLst/>
          </a:prstGeom>
        </p:spPr>
        <p:txBody>
          <a:bodyPr/>
          <a:lstStyle>
            <a:lvl1pPr marL="238115" indent="-238115">
              <a:buFont typeface="Arial" panose="020B0604020202020204" pitchFamily="34" charset="0"/>
              <a:buChar char="•"/>
              <a:defRPr sz="1167"/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939237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_2 right_5 fac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Picture Placeholder 49">
            <a:extLst>
              <a:ext uri="{FF2B5EF4-FFF2-40B4-BE49-F238E27FC236}">
                <a16:creationId xmlns:a16="http://schemas.microsoft.com/office/drawing/2014/main" id="{261FBC03-846A-0FB5-53E0-540F5740B89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702553" y="0"/>
            <a:ext cx="3497385" cy="338137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51" name="Picture Placeholder 49">
            <a:extLst>
              <a:ext uri="{FF2B5EF4-FFF2-40B4-BE49-F238E27FC236}">
                <a16:creationId xmlns:a16="http://schemas.microsoft.com/office/drawing/2014/main" id="{1CEC2990-4290-BC20-B17D-CD2B7F70552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702553" y="3381375"/>
            <a:ext cx="3497385" cy="34766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29" name="Title 2">
            <a:extLst>
              <a:ext uri="{FF2B5EF4-FFF2-40B4-BE49-F238E27FC236}">
                <a16:creationId xmlns:a16="http://schemas.microsoft.com/office/drawing/2014/main" id="{74F4A5DD-52A4-7608-2D5D-A1B7C9C759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799" y="399899"/>
            <a:ext cx="7073690" cy="86481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640F1008-F34C-63B2-8B96-C5E1BF25E15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15024" y="1477708"/>
            <a:ext cx="8015553" cy="240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33" b="1">
                <a:solidFill>
                  <a:schemeClr val="accent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9" name="Text Placeholder 45">
            <a:extLst>
              <a:ext uri="{FF2B5EF4-FFF2-40B4-BE49-F238E27FC236}">
                <a16:creationId xmlns:a16="http://schemas.microsoft.com/office/drawing/2014/main" id="{7E0657CB-DF67-CDF3-C914-ED05AADF91C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5027" y="1697570"/>
            <a:ext cx="8015553" cy="678002"/>
          </a:xfrm>
          <a:prstGeom prst="rect">
            <a:avLst/>
          </a:prstGeom>
        </p:spPr>
        <p:txBody>
          <a:bodyPr/>
          <a:lstStyle>
            <a:lvl1pPr marL="142869" indent="-142869">
              <a:buFont typeface="Arial" panose="020B0604020202020204" pitchFamily="34" charset="0"/>
              <a:buChar char="•"/>
              <a:defRPr sz="1000"/>
            </a:lvl1pPr>
          </a:lstStyle>
          <a:p>
            <a:pPr algn="l">
              <a:lnSpc>
                <a:spcPct val="100000"/>
              </a:lnSpc>
            </a:pPr>
            <a:endParaRPr lang="en-IN" sz="100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12" name="Text Placeholder 29">
            <a:extLst>
              <a:ext uri="{FF2B5EF4-FFF2-40B4-BE49-F238E27FC236}">
                <a16:creationId xmlns:a16="http://schemas.microsoft.com/office/drawing/2014/main" id="{4857D7DB-9672-3419-A54E-F96DEC7ED87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15024" y="2485504"/>
            <a:ext cx="8015553" cy="240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33" b="1">
                <a:solidFill>
                  <a:schemeClr val="accent2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3" name="Text Placeholder 45">
            <a:extLst>
              <a:ext uri="{FF2B5EF4-FFF2-40B4-BE49-F238E27FC236}">
                <a16:creationId xmlns:a16="http://schemas.microsoft.com/office/drawing/2014/main" id="{833C0D2D-19AE-9BD8-C82D-408C15D9CF5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15027" y="2705366"/>
            <a:ext cx="8015553" cy="678002"/>
          </a:xfrm>
          <a:prstGeom prst="rect">
            <a:avLst/>
          </a:prstGeom>
        </p:spPr>
        <p:txBody>
          <a:bodyPr/>
          <a:lstStyle>
            <a:lvl1pPr marL="142869" indent="-142869">
              <a:buFont typeface="Arial" panose="020B0604020202020204" pitchFamily="34" charset="0"/>
              <a:buChar char="•"/>
              <a:defRPr sz="1000"/>
            </a:lvl1pPr>
          </a:lstStyle>
          <a:p>
            <a:pPr algn="l">
              <a:lnSpc>
                <a:spcPct val="100000"/>
              </a:lnSpc>
            </a:pPr>
            <a:endParaRPr lang="en-IN" sz="100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14" name="Text Placeholder 29">
            <a:extLst>
              <a:ext uri="{FF2B5EF4-FFF2-40B4-BE49-F238E27FC236}">
                <a16:creationId xmlns:a16="http://schemas.microsoft.com/office/drawing/2014/main" id="{04096095-1302-C7EE-8E23-F409A257865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15024" y="3493300"/>
            <a:ext cx="8015553" cy="240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33" b="1">
                <a:solidFill>
                  <a:schemeClr val="accent3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5" name="Text Placeholder 45">
            <a:extLst>
              <a:ext uri="{FF2B5EF4-FFF2-40B4-BE49-F238E27FC236}">
                <a16:creationId xmlns:a16="http://schemas.microsoft.com/office/drawing/2014/main" id="{F1ACE174-36E8-9ACE-3634-70AB41CE5A4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15027" y="3713162"/>
            <a:ext cx="8015553" cy="678002"/>
          </a:xfrm>
          <a:prstGeom prst="rect">
            <a:avLst/>
          </a:prstGeom>
        </p:spPr>
        <p:txBody>
          <a:bodyPr/>
          <a:lstStyle>
            <a:lvl1pPr marL="142869" indent="-142869">
              <a:buFont typeface="Arial" panose="020B0604020202020204" pitchFamily="34" charset="0"/>
              <a:buChar char="•"/>
              <a:defRPr sz="1000"/>
            </a:lvl1pPr>
          </a:lstStyle>
          <a:p>
            <a:pPr algn="l">
              <a:lnSpc>
                <a:spcPct val="100000"/>
              </a:lnSpc>
            </a:pPr>
            <a:endParaRPr lang="en-IN" sz="100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16" name="Text Placeholder 29">
            <a:extLst>
              <a:ext uri="{FF2B5EF4-FFF2-40B4-BE49-F238E27FC236}">
                <a16:creationId xmlns:a16="http://schemas.microsoft.com/office/drawing/2014/main" id="{5D7DD996-81E9-8069-5C32-A76CDD3867E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15024" y="4501095"/>
            <a:ext cx="8015553" cy="240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33" b="1">
                <a:solidFill>
                  <a:schemeClr val="accent4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7" name="Text Placeholder 45">
            <a:extLst>
              <a:ext uri="{FF2B5EF4-FFF2-40B4-BE49-F238E27FC236}">
                <a16:creationId xmlns:a16="http://schemas.microsoft.com/office/drawing/2014/main" id="{A045799B-4C71-F6C2-7FB1-26A0D37EA99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15027" y="4720957"/>
            <a:ext cx="8015553" cy="678002"/>
          </a:xfrm>
          <a:prstGeom prst="rect">
            <a:avLst/>
          </a:prstGeom>
        </p:spPr>
        <p:txBody>
          <a:bodyPr/>
          <a:lstStyle>
            <a:lvl1pPr marL="142869" indent="-142869">
              <a:buFont typeface="Arial" panose="020B0604020202020204" pitchFamily="34" charset="0"/>
              <a:buChar char="•"/>
              <a:defRPr sz="1000"/>
            </a:lvl1pPr>
          </a:lstStyle>
          <a:p>
            <a:pPr algn="l">
              <a:lnSpc>
                <a:spcPct val="100000"/>
              </a:lnSpc>
            </a:pPr>
            <a:endParaRPr lang="en-IN" sz="100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18" name="Text Placeholder 29">
            <a:extLst>
              <a:ext uri="{FF2B5EF4-FFF2-40B4-BE49-F238E27FC236}">
                <a16:creationId xmlns:a16="http://schemas.microsoft.com/office/drawing/2014/main" id="{91805783-EB55-E8E0-7D8E-AC1B2DB22F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15024" y="5508891"/>
            <a:ext cx="8015553" cy="240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33" b="1">
                <a:solidFill>
                  <a:schemeClr val="tx2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9" name="Text Placeholder 45">
            <a:extLst>
              <a:ext uri="{FF2B5EF4-FFF2-40B4-BE49-F238E27FC236}">
                <a16:creationId xmlns:a16="http://schemas.microsoft.com/office/drawing/2014/main" id="{321DFE5E-D7A1-3F46-FDCC-8AC2CE1B6D5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15027" y="5728753"/>
            <a:ext cx="8015553" cy="678002"/>
          </a:xfrm>
          <a:prstGeom prst="rect">
            <a:avLst/>
          </a:prstGeom>
        </p:spPr>
        <p:txBody>
          <a:bodyPr/>
          <a:lstStyle>
            <a:lvl1pPr marL="142869" indent="-142869">
              <a:buFont typeface="Arial" panose="020B0604020202020204" pitchFamily="34" charset="0"/>
              <a:buChar char="•"/>
              <a:defRPr sz="1000"/>
            </a:lvl1pPr>
          </a:lstStyle>
          <a:p>
            <a:pPr algn="l">
              <a:lnSpc>
                <a:spcPct val="100000"/>
              </a:lnSpc>
            </a:pPr>
            <a:endParaRPr lang="en-IN" sz="100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43855697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_3 right_3 fac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Content Placeholder 35">
            <a:extLst>
              <a:ext uri="{FF2B5EF4-FFF2-40B4-BE49-F238E27FC236}">
                <a16:creationId xmlns:a16="http://schemas.microsoft.com/office/drawing/2014/main" id="{3AA42D85-4AA0-9550-24AD-56D46683FB5F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632157" y="0"/>
            <a:ext cx="2559843" cy="2259542"/>
          </a:xfrm>
          <a:prstGeom prst="rect">
            <a:avLst/>
          </a:prstGeom>
        </p:spPr>
        <p:txBody>
          <a:bodyPr/>
          <a:lstStyle/>
          <a:p>
            <a:pPr lvl="0"/>
            <a:endParaRPr lang="en-GB"/>
          </a:p>
        </p:txBody>
      </p:sp>
      <p:sp>
        <p:nvSpPr>
          <p:cNvPr id="37" name="Content Placeholder 35">
            <a:extLst>
              <a:ext uri="{FF2B5EF4-FFF2-40B4-BE49-F238E27FC236}">
                <a16:creationId xmlns:a16="http://schemas.microsoft.com/office/drawing/2014/main" id="{EE2A94BE-3171-020B-AF28-3F9800FDE86A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632157" y="2260135"/>
            <a:ext cx="2559843" cy="2295044"/>
          </a:xfrm>
          <a:prstGeom prst="rect">
            <a:avLst/>
          </a:prstGeom>
        </p:spPr>
        <p:txBody>
          <a:bodyPr/>
          <a:lstStyle/>
          <a:p>
            <a:pPr lvl="0"/>
            <a:endParaRPr lang="en-GB"/>
          </a:p>
        </p:txBody>
      </p:sp>
      <p:sp>
        <p:nvSpPr>
          <p:cNvPr id="38" name="Content Placeholder 35">
            <a:extLst>
              <a:ext uri="{FF2B5EF4-FFF2-40B4-BE49-F238E27FC236}">
                <a16:creationId xmlns:a16="http://schemas.microsoft.com/office/drawing/2014/main" id="{16CF721F-945B-AB43-5D73-FA52850EB4E7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632157" y="4569407"/>
            <a:ext cx="2559843" cy="2295044"/>
          </a:xfrm>
          <a:prstGeom prst="rect">
            <a:avLst/>
          </a:prstGeom>
        </p:spPr>
        <p:txBody>
          <a:bodyPr/>
          <a:lstStyle/>
          <a:p>
            <a:pPr lvl="0"/>
            <a:endParaRPr lang="en-GB"/>
          </a:p>
        </p:txBody>
      </p:sp>
      <p:sp>
        <p:nvSpPr>
          <p:cNvPr id="24" name="Text Placeholder 29">
            <a:extLst>
              <a:ext uri="{FF2B5EF4-FFF2-40B4-BE49-F238E27FC236}">
                <a16:creationId xmlns:a16="http://schemas.microsoft.com/office/drawing/2014/main" id="{D1D4C2D4-F282-27AF-9BB9-F85B8E3C368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15024" y="4821635"/>
            <a:ext cx="8015553" cy="240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33" b="1">
                <a:solidFill>
                  <a:schemeClr val="accent3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9" name="Text Placeholder 45">
            <a:extLst>
              <a:ext uri="{FF2B5EF4-FFF2-40B4-BE49-F238E27FC236}">
                <a16:creationId xmlns:a16="http://schemas.microsoft.com/office/drawing/2014/main" id="{7C69B88E-76CC-6BFF-3728-A65B389C8B4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15027" y="5070579"/>
            <a:ext cx="8015553" cy="11778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pPr algn="l">
              <a:lnSpc>
                <a:spcPct val="100000"/>
              </a:lnSpc>
            </a:pPr>
            <a:endParaRPr lang="en-IN" sz="100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31" name="Text Placeholder 29">
            <a:extLst>
              <a:ext uri="{FF2B5EF4-FFF2-40B4-BE49-F238E27FC236}">
                <a16:creationId xmlns:a16="http://schemas.microsoft.com/office/drawing/2014/main" id="{0A43CC90-9AA8-FD8C-D02A-9974D2EB8B1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15024" y="3168387"/>
            <a:ext cx="8015553" cy="240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33" b="1">
                <a:solidFill>
                  <a:schemeClr val="accent2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2" name="Text Placeholder 45">
            <a:extLst>
              <a:ext uri="{FF2B5EF4-FFF2-40B4-BE49-F238E27FC236}">
                <a16:creationId xmlns:a16="http://schemas.microsoft.com/office/drawing/2014/main" id="{9E720A69-8E8D-603B-BDA5-0C041F9AEE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027" y="3417332"/>
            <a:ext cx="8015553" cy="11778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pPr algn="l">
              <a:lnSpc>
                <a:spcPct val="100000"/>
              </a:lnSpc>
            </a:pPr>
            <a:endParaRPr lang="en-IN" sz="100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33" name="Text Placeholder 29">
            <a:extLst>
              <a:ext uri="{FF2B5EF4-FFF2-40B4-BE49-F238E27FC236}">
                <a16:creationId xmlns:a16="http://schemas.microsoft.com/office/drawing/2014/main" id="{2407AE83-5E44-9C98-4DE1-191FFFB3679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15024" y="1515140"/>
            <a:ext cx="8015553" cy="240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33" b="1">
                <a:solidFill>
                  <a:schemeClr val="accent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4" name="Text Placeholder 45">
            <a:extLst>
              <a:ext uri="{FF2B5EF4-FFF2-40B4-BE49-F238E27FC236}">
                <a16:creationId xmlns:a16="http://schemas.microsoft.com/office/drawing/2014/main" id="{37D77EBB-7B12-DD39-0AF3-A7CB8C73C98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5027" y="1764084"/>
            <a:ext cx="8015553" cy="11778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pPr algn="l">
              <a:lnSpc>
                <a:spcPct val="100000"/>
              </a:lnSpc>
            </a:pPr>
            <a:endParaRPr lang="en-IN" sz="100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CFF04D1E-1EE9-4A3B-77AF-043060E93C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53" y="399899"/>
            <a:ext cx="11400896" cy="86481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677804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_3 right_4 fac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Content Placeholder 35">
            <a:extLst>
              <a:ext uri="{FF2B5EF4-FFF2-40B4-BE49-F238E27FC236}">
                <a16:creationId xmlns:a16="http://schemas.microsoft.com/office/drawing/2014/main" id="{3AA42D85-4AA0-9550-24AD-56D46683FB5F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632157" y="0"/>
            <a:ext cx="2559843" cy="2259542"/>
          </a:xfrm>
          <a:prstGeom prst="rect">
            <a:avLst/>
          </a:prstGeom>
        </p:spPr>
        <p:txBody>
          <a:bodyPr/>
          <a:lstStyle/>
          <a:p>
            <a:pPr lvl="0"/>
            <a:endParaRPr lang="en-GB"/>
          </a:p>
        </p:txBody>
      </p:sp>
      <p:sp>
        <p:nvSpPr>
          <p:cNvPr id="37" name="Content Placeholder 35">
            <a:extLst>
              <a:ext uri="{FF2B5EF4-FFF2-40B4-BE49-F238E27FC236}">
                <a16:creationId xmlns:a16="http://schemas.microsoft.com/office/drawing/2014/main" id="{EE2A94BE-3171-020B-AF28-3F9800FDE86A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632157" y="2260135"/>
            <a:ext cx="2559843" cy="2295044"/>
          </a:xfrm>
          <a:prstGeom prst="rect">
            <a:avLst/>
          </a:prstGeom>
        </p:spPr>
        <p:txBody>
          <a:bodyPr/>
          <a:lstStyle/>
          <a:p>
            <a:pPr lvl="0"/>
            <a:endParaRPr lang="en-GB"/>
          </a:p>
        </p:txBody>
      </p:sp>
      <p:sp>
        <p:nvSpPr>
          <p:cNvPr id="38" name="Content Placeholder 35">
            <a:extLst>
              <a:ext uri="{FF2B5EF4-FFF2-40B4-BE49-F238E27FC236}">
                <a16:creationId xmlns:a16="http://schemas.microsoft.com/office/drawing/2014/main" id="{16CF721F-945B-AB43-5D73-FA52850EB4E7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632157" y="4569407"/>
            <a:ext cx="2559843" cy="2295044"/>
          </a:xfrm>
          <a:prstGeom prst="rect">
            <a:avLst/>
          </a:prstGeom>
        </p:spPr>
        <p:txBody>
          <a:bodyPr/>
          <a:lstStyle/>
          <a:p>
            <a:pPr lvl="0"/>
            <a:endParaRPr lang="en-GB"/>
          </a:p>
        </p:txBody>
      </p:sp>
      <p:sp>
        <p:nvSpPr>
          <p:cNvPr id="22" name="Text Placeholder 29">
            <a:extLst>
              <a:ext uri="{FF2B5EF4-FFF2-40B4-BE49-F238E27FC236}">
                <a16:creationId xmlns:a16="http://schemas.microsoft.com/office/drawing/2014/main" id="{165E4DF7-3C9D-FB4B-59C7-F9DD3D11745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15024" y="5054027"/>
            <a:ext cx="8015553" cy="240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33" b="1">
                <a:solidFill>
                  <a:schemeClr val="accent4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3" name="Text Placeholder 45">
            <a:extLst>
              <a:ext uri="{FF2B5EF4-FFF2-40B4-BE49-F238E27FC236}">
                <a16:creationId xmlns:a16="http://schemas.microsoft.com/office/drawing/2014/main" id="{0C32BE0B-C0A6-ECE2-91AD-5F0C4E497BB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15027" y="5297155"/>
            <a:ext cx="8015553" cy="3294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pPr algn="l">
              <a:lnSpc>
                <a:spcPct val="100000"/>
              </a:lnSpc>
            </a:pPr>
            <a:endParaRPr lang="en-IN" sz="100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24" name="Text Placeholder 29">
            <a:extLst>
              <a:ext uri="{FF2B5EF4-FFF2-40B4-BE49-F238E27FC236}">
                <a16:creationId xmlns:a16="http://schemas.microsoft.com/office/drawing/2014/main" id="{D1D4C2D4-F282-27AF-9BB9-F85B8E3C368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15024" y="3947143"/>
            <a:ext cx="8015553" cy="240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33" b="1">
                <a:solidFill>
                  <a:schemeClr val="accent3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9" name="Text Placeholder 45">
            <a:extLst>
              <a:ext uri="{FF2B5EF4-FFF2-40B4-BE49-F238E27FC236}">
                <a16:creationId xmlns:a16="http://schemas.microsoft.com/office/drawing/2014/main" id="{7C69B88E-76CC-6BFF-3728-A65B389C8B4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15027" y="4190271"/>
            <a:ext cx="8015553" cy="3294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pPr algn="l">
              <a:lnSpc>
                <a:spcPct val="100000"/>
              </a:lnSpc>
            </a:pPr>
            <a:endParaRPr lang="en-IN" sz="100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31" name="Text Placeholder 29">
            <a:extLst>
              <a:ext uri="{FF2B5EF4-FFF2-40B4-BE49-F238E27FC236}">
                <a16:creationId xmlns:a16="http://schemas.microsoft.com/office/drawing/2014/main" id="{0A43CC90-9AA8-FD8C-D02A-9974D2EB8B1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15024" y="2807060"/>
            <a:ext cx="8015553" cy="240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33" b="1">
                <a:solidFill>
                  <a:schemeClr val="accent2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2" name="Text Placeholder 45">
            <a:extLst>
              <a:ext uri="{FF2B5EF4-FFF2-40B4-BE49-F238E27FC236}">
                <a16:creationId xmlns:a16="http://schemas.microsoft.com/office/drawing/2014/main" id="{9E720A69-8E8D-603B-BDA5-0C041F9AEE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027" y="3050188"/>
            <a:ext cx="8015553" cy="3294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pPr algn="l">
              <a:lnSpc>
                <a:spcPct val="100000"/>
              </a:lnSpc>
            </a:pPr>
            <a:endParaRPr lang="en-IN" sz="100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33" name="Text Placeholder 29">
            <a:extLst>
              <a:ext uri="{FF2B5EF4-FFF2-40B4-BE49-F238E27FC236}">
                <a16:creationId xmlns:a16="http://schemas.microsoft.com/office/drawing/2014/main" id="{2407AE83-5E44-9C98-4DE1-191FFFB3679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15024" y="1688441"/>
            <a:ext cx="8015553" cy="240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33" b="1">
                <a:solidFill>
                  <a:schemeClr val="accent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4" name="Text Placeholder 45">
            <a:extLst>
              <a:ext uri="{FF2B5EF4-FFF2-40B4-BE49-F238E27FC236}">
                <a16:creationId xmlns:a16="http://schemas.microsoft.com/office/drawing/2014/main" id="{37D77EBB-7B12-DD39-0AF3-A7CB8C73C98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5027" y="1931570"/>
            <a:ext cx="8015553" cy="3294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pPr algn="l">
              <a:lnSpc>
                <a:spcPct val="100000"/>
              </a:lnSpc>
            </a:pPr>
            <a:endParaRPr lang="en-IN" sz="100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CFF04D1E-1EE9-4A3B-77AF-043060E93C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53" y="399899"/>
            <a:ext cx="11400896" cy="86481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061261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_3 right_5 fac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Placeholder 29">
            <a:extLst>
              <a:ext uri="{FF2B5EF4-FFF2-40B4-BE49-F238E27FC236}">
                <a16:creationId xmlns:a16="http://schemas.microsoft.com/office/drawing/2014/main" id="{2407AE83-5E44-9C98-4DE1-191FFFB3679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1024" y="1682441"/>
            <a:ext cx="4250973" cy="240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 b="1">
                <a:solidFill>
                  <a:schemeClr val="accent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4" name="Text Placeholder 45">
            <a:extLst>
              <a:ext uri="{FF2B5EF4-FFF2-40B4-BE49-F238E27FC236}">
                <a16:creationId xmlns:a16="http://schemas.microsoft.com/office/drawing/2014/main" id="{37D77EBB-7B12-DD39-0AF3-A7CB8C73C98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1028" y="1925570"/>
            <a:ext cx="4250973" cy="3294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pPr algn="l">
              <a:lnSpc>
                <a:spcPct val="100000"/>
              </a:lnSpc>
            </a:pPr>
            <a:endParaRPr lang="en-IN" sz="100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13" name="Text Placeholder 29">
            <a:extLst>
              <a:ext uri="{FF2B5EF4-FFF2-40B4-BE49-F238E27FC236}">
                <a16:creationId xmlns:a16="http://schemas.microsoft.com/office/drawing/2014/main" id="{DEAAE422-DE43-CDBB-C27A-7A53897317A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21024" y="2612552"/>
            <a:ext cx="4250973" cy="240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 b="1">
                <a:solidFill>
                  <a:schemeClr val="accent2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4" name="Text Placeholder 45">
            <a:extLst>
              <a:ext uri="{FF2B5EF4-FFF2-40B4-BE49-F238E27FC236}">
                <a16:creationId xmlns:a16="http://schemas.microsoft.com/office/drawing/2014/main" id="{52BF17C6-1CB5-A155-9702-44543A0773B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1028" y="2855680"/>
            <a:ext cx="4250973" cy="3294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pPr algn="l">
              <a:lnSpc>
                <a:spcPct val="100000"/>
              </a:lnSpc>
            </a:pPr>
            <a:endParaRPr lang="en-IN" sz="100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36" name="Content Placeholder 35">
            <a:extLst>
              <a:ext uri="{FF2B5EF4-FFF2-40B4-BE49-F238E27FC236}">
                <a16:creationId xmlns:a16="http://schemas.microsoft.com/office/drawing/2014/main" id="{3AA42D85-4AA0-9550-24AD-56D46683FB5F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632157" y="0"/>
            <a:ext cx="2559843" cy="2259542"/>
          </a:xfrm>
          <a:prstGeom prst="rect">
            <a:avLst/>
          </a:prstGeom>
        </p:spPr>
        <p:txBody>
          <a:bodyPr/>
          <a:lstStyle/>
          <a:p>
            <a:pPr lvl="0"/>
            <a:endParaRPr lang="en-GB"/>
          </a:p>
        </p:txBody>
      </p:sp>
      <p:sp>
        <p:nvSpPr>
          <p:cNvPr id="37" name="Content Placeholder 35">
            <a:extLst>
              <a:ext uri="{FF2B5EF4-FFF2-40B4-BE49-F238E27FC236}">
                <a16:creationId xmlns:a16="http://schemas.microsoft.com/office/drawing/2014/main" id="{EE2A94BE-3171-020B-AF28-3F9800FDE86A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632157" y="2260135"/>
            <a:ext cx="2559843" cy="2295044"/>
          </a:xfrm>
          <a:prstGeom prst="rect">
            <a:avLst/>
          </a:prstGeom>
        </p:spPr>
        <p:txBody>
          <a:bodyPr/>
          <a:lstStyle/>
          <a:p>
            <a:pPr lvl="0"/>
            <a:endParaRPr lang="en-GB"/>
          </a:p>
        </p:txBody>
      </p:sp>
      <p:sp>
        <p:nvSpPr>
          <p:cNvPr id="38" name="Content Placeholder 35">
            <a:extLst>
              <a:ext uri="{FF2B5EF4-FFF2-40B4-BE49-F238E27FC236}">
                <a16:creationId xmlns:a16="http://schemas.microsoft.com/office/drawing/2014/main" id="{16CF721F-945B-AB43-5D73-FA52850EB4E7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632157" y="4569407"/>
            <a:ext cx="2559843" cy="2295044"/>
          </a:xfrm>
          <a:prstGeom prst="rect">
            <a:avLst/>
          </a:prstGeom>
        </p:spPr>
        <p:txBody>
          <a:bodyPr/>
          <a:lstStyle/>
          <a:p>
            <a:pPr lvl="0"/>
            <a:endParaRPr lang="en-GB"/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CFF04D1E-1EE9-4A3B-77AF-043060E93C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53" y="399899"/>
            <a:ext cx="11400896" cy="86481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5" name="Text Placeholder 29">
            <a:extLst>
              <a:ext uri="{FF2B5EF4-FFF2-40B4-BE49-F238E27FC236}">
                <a16:creationId xmlns:a16="http://schemas.microsoft.com/office/drawing/2014/main" id="{ED5040B7-BDEB-3AA7-7B21-AF2CB0BBE20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21024" y="3542663"/>
            <a:ext cx="4250973" cy="240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 b="1">
                <a:solidFill>
                  <a:schemeClr val="accent3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6" name="Text Placeholder 45">
            <a:extLst>
              <a:ext uri="{FF2B5EF4-FFF2-40B4-BE49-F238E27FC236}">
                <a16:creationId xmlns:a16="http://schemas.microsoft.com/office/drawing/2014/main" id="{E07DC42C-A889-E75A-8F2F-D504AA24E2D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21028" y="3785791"/>
            <a:ext cx="4250973" cy="3294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pPr algn="l">
              <a:lnSpc>
                <a:spcPct val="100000"/>
              </a:lnSpc>
            </a:pPr>
            <a:endParaRPr lang="en-IN" sz="100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17" name="Text Placeholder 29">
            <a:extLst>
              <a:ext uri="{FF2B5EF4-FFF2-40B4-BE49-F238E27FC236}">
                <a16:creationId xmlns:a16="http://schemas.microsoft.com/office/drawing/2014/main" id="{B66B674C-F74A-3BFB-A19D-067F9A76618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1024" y="4472774"/>
            <a:ext cx="4250973" cy="240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 b="1">
                <a:solidFill>
                  <a:schemeClr val="accent4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8" name="Text Placeholder 45">
            <a:extLst>
              <a:ext uri="{FF2B5EF4-FFF2-40B4-BE49-F238E27FC236}">
                <a16:creationId xmlns:a16="http://schemas.microsoft.com/office/drawing/2014/main" id="{CD690059-6C66-045C-571A-B953D880BDE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21028" y="4715902"/>
            <a:ext cx="4250973" cy="3294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pPr algn="l">
              <a:lnSpc>
                <a:spcPct val="100000"/>
              </a:lnSpc>
            </a:pPr>
            <a:endParaRPr lang="en-IN" sz="100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19" name="Text Placeholder 29">
            <a:extLst>
              <a:ext uri="{FF2B5EF4-FFF2-40B4-BE49-F238E27FC236}">
                <a16:creationId xmlns:a16="http://schemas.microsoft.com/office/drawing/2014/main" id="{D68F774A-0700-20B9-C2F5-B502C62E376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21024" y="5402885"/>
            <a:ext cx="4250973" cy="240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67" b="1">
                <a:solidFill>
                  <a:schemeClr val="tx2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0" name="Text Placeholder 45">
            <a:extLst>
              <a:ext uri="{FF2B5EF4-FFF2-40B4-BE49-F238E27FC236}">
                <a16:creationId xmlns:a16="http://schemas.microsoft.com/office/drawing/2014/main" id="{031EAD95-ED1E-73B2-7140-E4ED70EE5F1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21028" y="5646013"/>
            <a:ext cx="4250973" cy="3294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pPr algn="l">
              <a:lnSpc>
                <a:spcPct val="100000"/>
              </a:lnSpc>
            </a:pPr>
            <a:endParaRPr lang="en-IN" sz="100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73760037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_left_4 fac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6AD80FD-ABEC-DC67-E40B-7BE89E21E6D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3790462" cy="68580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301F8E23-BFD4-3FA6-56FB-CF1237F891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36475" y="399899"/>
            <a:ext cx="7564586" cy="86481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E8043AB-8CA0-EF86-F6AD-6150B56B23E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46133" y="1675599"/>
            <a:ext cx="7564583" cy="3856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A555C3-1BDA-E6E7-CF42-D4E46B93086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46134" y="2061229"/>
            <a:ext cx="7564586" cy="431271"/>
          </a:xfrm>
          <a:prstGeom prst="rect">
            <a:avLst/>
          </a:prstGeom>
        </p:spPr>
        <p:txBody>
          <a:bodyPr/>
          <a:lstStyle>
            <a:lvl1pPr marL="238115" indent="-238115">
              <a:buFont typeface="Arial" panose="020B0604020202020204" pitchFamily="34" charset="0"/>
              <a:buChar char="•"/>
              <a:defRPr sz="1167"/>
            </a:lvl1pPr>
          </a:lstStyle>
          <a:p>
            <a:pPr lvl="0"/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4569A130-5F92-4F01-6FD8-588466D4530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46133" y="2773334"/>
            <a:ext cx="7564583" cy="3856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CB02310B-51A2-8FAF-0ECA-10C87BD277E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46133" y="3150681"/>
            <a:ext cx="7564586" cy="431271"/>
          </a:xfrm>
          <a:prstGeom prst="rect">
            <a:avLst/>
          </a:prstGeom>
        </p:spPr>
        <p:txBody>
          <a:bodyPr/>
          <a:lstStyle>
            <a:lvl1pPr marL="238115" indent="-238115">
              <a:buFont typeface="Arial" panose="020B0604020202020204" pitchFamily="34" charset="0"/>
              <a:buChar char="•"/>
              <a:defRPr sz="1167"/>
            </a:lvl1pPr>
          </a:lstStyle>
          <a:p>
            <a:pPr lvl="0"/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8E0D7828-5AF8-3FEA-67B5-D620FA8CA93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46133" y="3954805"/>
            <a:ext cx="7564583" cy="3856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accent3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E216E45D-93FC-999D-EDE8-F44B248D21D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46132" y="4334778"/>
            <a:ext cx="7564586" cy="431271"/>
          </a:xfrm>
          <a:prstGeom prst="rect">
            <a:avLst/>
          </a:prstGeom>
        </p:spPr>
        <p:txBody>
          <a:bodyPr/>
          <a:lstStyle>
            <a:lvl1pPr marL="238115" indent="-238115">
              <a:buFont typeface="Arial" panose="020B0604020202020204" pitchFamily="34" charset="0"/>
              <a:buChar char="•"/>
              <a:defRPr sz="1167"/>
            </a:lvl1pPr>
          </a:lstStyle>
          <a:p>
            <a:pPr lvl="0"/>
            <a:endParaRPr lang="en-GB"/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30510CFE-D08B-4757-7717-ECBF679C7C7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46132" y="5136341"/>
            <a:ext cx="7564583" cy="3856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accent4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24A194FA-FBC4-BEDD-1B64-6A6DC53B83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6131" y="5523102"/>
            <a:ext cx="7564586" cy="431271"/>
          </a:xfrm>
          <a:prstGeom prst="rect">
            <a:avLst/>
          </a:prstGeom>
        </p:spPr>
        <p:txBody>
          <a:bodyPr/>
          <a:lstStyle>
            <a:lvl1pPr marL="238115" indent="-238115">
              <a:buFont typeface="Arial" panose="020B0604020202020204" pitchFamily="34" charset="0"/>
              <a:buChar char="•"/>
              <a:defRPr sz="1167"/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50154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1" y="2060575"/>
            <a:ext cx="5513917" cy="40655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48919" y="2060575"/>
            <a:ext cx="5516033" cy="40655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02458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26" Type="http://schemas.openxmlformats.org/officeDocument/2006/relationships/slideLayout" Target="../slideLayouts/slideLayout45.xml"/><Relationship Id="rId3" Type="http://schemas.openxmlformats.org/officeDocument/2006/relationships/slideLayout" Target="../slideLayouts/slideLayout22.xml"/><Relationship Id="rId21" Type="http://schemas.openxmlformats.org/officeDocument/2006/relationships/slideLayout" Target="../slideLayouts/slideLayout40.xml"/><Relationship Id="rId34" Type="http://schemas.openxmlformats.org/officeDocument/2006/relationships/image" Target="../media/image5.png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5" Type="http://schemas.openxmlformats.org/officeDocument/2006/relationships/slideLayout" Target="../slideLayouts/slideLayout44.xml"/><Relationship Id="rId33" Type="http://schemas.openxmlformats.org/officeDocument/2006/relationships/theme" Target="../theme/theme3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39.xml"/><Relationship Id="rId29" Type="http://schemas.openxmlformats.org/officeDocument/2006/relationships/slideLayout" Target="../slideLayouts/slideLayout48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slideLayout" Target="../slideLayouts/slideLayout43.xml"/><Relationship Id="rId32" Type="http://schemas.openxmlformats.org/officeDocument/2006/relationships/slideLayout" Target="../slideLayouts/slideLayout51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slideLayout" Target="../slideLayouts/slideLayout42.xml"/><Relationship Id="rId28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31" Type="http://schemas.openxmlformats.org/officeDocument/2006/relationships/slideLayout" Target="../slideLayouts/slideLayout50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slideLayout" Target="../slideLayouts/slideLayout41.xml"/><Relationship Id="rId27" Type="http://schemas.openxmlformats.org/officeDocument/2006/relationships/slideLayout" Target="../slideLayouts/slideLayout46.xml"/><Relationship Id="rId30" Type="http://schemas.openxmlformats.org/officeDocument/2006/relationships/slideLayout" Target="../slideLayouts/slideLayout49.xml"/><Relationship Id="rId8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4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slideLayout" Target="../slideLayouts/slideLayout60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tags" Target="../tags/tag1.xml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6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6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slideLayout" Target="../slideLayouts/slideLayout83.xml"/><Relationship Id="rId18" Type="http://schemas.openxmlformats.org/officeDocument/2006/relationships/slideLayout" Target="../slideLayouts/slideLayout88.xml"/><Relationship Id="rId3" Type="http://schemas.openxmlformats.org/officeDocument/2006/relationships/slideLayout" Target="../slideLayouts/slideLayout73.xml"/><Relationship Id="rId21" Type="http://schemas.openxmlformats.org/officeDocument/2006/relationships/slideLayout" Target="../slideLayouts/slideLayout91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17" Type="http://schemas.openxmlformats.org/officeDocument/2006/relationships/slideLayout" Target="../slideLayouts/slideLayout87.xml"/><Relationship Id="rId2" Type="http://schemas.openxmlformats.org/officeDocument/2006/relationships/slideLayout" Target="../slideLayouts/slideLayout72.xml"/><Relationship Id="rId16" Type="http://schemas.openxmlformats.org/officeDocument/2006/relationships/slideLayout" Target="../slideLayouts/slideLayout86.xml"/><Relationship Id="rId20" Type="http://schemas.openxmlformats.org/officeDocument/2006/relationships/slideLayout" Target="../slideLayouts/slideLayout90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5" Type="http://schemas.openxmlformats.org/officeDocument/2006/relationships/slideLayout" Target="../slideLayouts/slideLayout85.xml"/><Relationship Id="rId10" Type="http://schemas.openxmlformats.org/officeDocument/2006/relationships/slideLayout" Target="../slideLayouts/slideLayout80.xml"/><Relationship Id="rId19" Type="http://schemas.openxmlformats.org/officeDocument/2006/relationships/slideLayout" Target="../slideLayouts/slideLayout89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slideLayout" Target="../slideLayouts/slideLayout84.xml"/><Relationship Id="rId22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3" Type="http://schemas.openxmlformats.org/officeDocument/2006/relationships/slideLayout" Target="../slideLayouts/slideLayout94.xml"/><Relationship Id="rId7" Type="http://schemas.openxmlformats.org/officeDocument/2006/relationships/slideLayout" Target="../slideLayouts/slideLayout98.xml"/><Relationship Id="rId2" Type="http://schemas.openxmlformats.org/officeDocument/2006/relationships/slideLayout" Target="../slideLayouts/slideLayout93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theme" Target="../theme/theme8.xml"/><Relationship Id="rId5" Type="http://schemas.openxmlformats.org/officeDocument/2006/relationships/slideLayout" Target="../slideLayouts/slideLayout96.xml"/><Relationship Id="rId10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1CEE980-FCFE-DE05-1BFA-C0FE37C516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numCol="1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61D15E-4AD5-1A11-E152-EDFB214394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49174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8" r:id="rId4"/>
    <p:sldLayoutId id="2147483729" r:id="rId5"/>
    <p:sldLayoutId id="2147483760" r:id="rId6"/>
    <p:sldLayoutId id="2147483761" r:id="rId7"/>
    <p:sldLayoutId id="2147483762" r:id="rId8"/>
  </p:sldLayoutIdLst>
  <p:txStyles>
    <p:titleStyle>
      <a:lvl1pPr algn="ctr" defTabSz="914400" rtl="0" eaLnBrk="1" latinLnBrk="0" hangingPunct="1">
        <a:lnSpc>
          <a:spcPct val="100000"/>
        </a:lnSpc>
        <a:spcBef>
          <a:spcPct val="0"/>
        </a:spcBef>
        <a:buNone/>
        <a:defRPr sz="4400" b="1" i="0" kern="1200">
          <a:solidFill>
            <a:schemeClr val="tx1"/>
          </a:solidFill>
          <a:latin typeface="Helvetica" pitchFamily="2" charset="0"/>
          <a:ea typeface="Bagoss Condensed SemiBold" panose="020B0806060102020204" pitchFamily="34" charset="77"/>
          <a:cs typeface="Bagoss Condensed SemiBold" panose="020B0806060102020204" pitchFamily="34" charset="77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1CEE980-FCFE-DE05-1BFA-C0FE37C516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047964"/>
            <a:ext cx="10515600" cy="642724"/>
          </a:xfrm>
          <a:prstGeom prst="rect">
            <a:avLst/>
          </a:prstGeom>
        </p:spPr>
        <p:txBody>
          <a:bodyPr vert="horz" lIns="91440" tIns="45720" rIns="91440" bIns="45720" numCol="1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61D15E-4AD5-1A11-E152-EDFB214394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5" name="Picture 4" descr="A black background with a red sign&#10;&#10;AI-generated content may be incorrect.">
            <a:extLst>
              <a:ext uri="{FF2B5EF4-FFF2-40B4-BE49-F238E27FC236}">
                <a16:creationId xmlns:a16="http://schemas.microsoft.com/office/drawing/2014/main" id="{13BD13B8-ACF4-391D-1D03-57ED2EB73847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054"/>
          <a:stretch/>
        </p:blipFill>
        <p:spPr>
          <a:xfrm>
            <a:off x="374381" y="457591"/>
            <a:ext cx="1731821" cy="362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26924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3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4" r:id="rId10"/>
    <p:sldLayoutId id="2147483763" r:id="rId11"/>
  </p:sldLayoutIdLst>
  <p:txStyles>
    <p:titleStyle>
      <a:lvl1pPr algn="ctr" defTabSz="914400" rtl="0" eaLnBrk="1" latinLnBrk="0" hangingPunct="1">
        <a:lnSpc>
          <a:spcPct val="100000"/>
        </a:lnSpc>
        <a:spcBef>
          <a:spcPct val="0"/>
        </a:spcBef>
        <a:buNone/>
        <a:defRPr sz="4400" b="1" i="0" kern="1200">
          <a:solidFill>
            <a:schemeClr val="tx1"/>
          </a:solidFill>
          <a:latin typeface="Helvetica" pitchFamily="2" charset="0"/>
          <a:ea typeface="Bagoss Condensed SemiBold" panose="020B0806060102020204" pitchFamily="34" charset="77"/>
          <a:cs typeface="Bagoss Condensed SemiBold" panose="020B0806060102020204" pitchFamily="34" charset="77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MetaSerifPro-Book" panose="02010604050101020104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MetaSerifPro-Book" panose="02010604050101020104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200" b="0" i="0" kern="1200">
          <a:solidFill>
            <a:schemeClr val="tx1"/>
          </a:solidFill>
          <a:latin typeface="MetaSerifPro-Book" panose="020106040501010201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MetaSerifPro-Book" panose="020106040501010201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1CEE980-FCFE-DE05-1BFA-C0FE37C516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24674"/>
            <a:ext cx="10515600" cy="766014"/>
          </a:xfrm>
          <a:prstGeom prst="rect">
            <a:avLst/>
          </a:prstGeom>
        </p:spPr>
        <p:txBody>
          <a:bodyPr vert="horz" lIns="91440" tIns="45720" rIns="91440" bIns="45720" numCol="1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61D15E-4AD5-1A11-E152-EDFB214394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" name="Picture 3" descr="A black background with a red sign&#10;&#10;AI-generated content may be incorrect.">
            <a:extLst>
              <a:ext uri="{FF2B5EF4-FFF2-40B4-BE49-F238E27FC236}">
                <a16:creationId xmlns:a16="http://schemas.microsoft.com/office/drawing/2014/main" id="{E2CF2826-EA15-7D5B-C7DA-53EE6EADA6D6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054"/>
          <a:stretch/>
        </p:blipFill>
        <p:spPr>
          <a:xfrm>
            <a:off x="374381" y="457591"/>
            <a:ext cx="1731821" cy="362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3174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2" r:id="rId6"/>
    <p:sldLayoutId id="2147483753" r:id="rId7"/>
    <p:sldLayoutId id="2147483754" r:id="rId8"/>
    <p:sldLayoutId id="2147483755" r:id="rId9"/>
    <p:sldLayoutId id="2147483756" r:id="rId10"/>
    <p:sldLayoutId id="2147483757" r:id="rId11"/>
    <p:sldLayoutId id="2147483758" r:id="rId12"/>
    <p:sldLayoutId id="2147483785" r:id="rId13"/>
    <p:sldLayoutId id="2147483786" r:id="rId14"/>
    <p:sldLayoutId id="2147483789" r:id="rId15"/>
    <p:sldLayoutId id="2147483766" r:id="rId16"/>
    <p:sldLayoutId id="2147483767" r:id="rId17"/>
    <p:sldLayoutId id="2147483770" r:id="rId18"/>
    <p:sldLayoutId id="2147483771" r:id="rId19"/>
    <p:sldLayoutId id="2147483772" r:id="rId20"/>
    <p:sldLayoutId id="2147483773" r:id="rId21"/>
    <p:sldLayoutId id="2147483774" r:id="rId22"/>
    <p:sldLayoutId id="2147483775" r:id="rId23"/>
    <p:sldLayoutId id="2147483776" r:id="rId24"/>
    <p:sldLayoutId id="2147483777" r:id="rId25"/>
    <p:sldLayoutId id="2147483778" r:id="rId26"/>
    <p:sldLayoutId id="2147483779" r:id="rId27"/>
    <p:sldLayoutId id="2147483781" r:id="rId28"/>
    <p:sldLayoutId id="2147483791" r:id="rId29"/>
    <p:sldLayoutId id="2147483792" r:id="rId30"/>
    <p:sldLayoutId id="2147483793" r:id="rId31"/>
    <p:sldLayoutId id="2147483796" r:id="rId32"/>
  </p:sldLayoutIdLst>
  <p:txStyles>
    <p:titleStyle>
      <a:lvl1pPr algn="ctr" defTabSz="914400" rtl="0" eaLnBrk="1" latinLnBrk="0" hangingPunct="1">
        <a:lnSpc>
          <a:spcPct val="100000"/>
        </a:lnSpc>
        <a:spcBef>
          <a:spcPct val="0"/>
        </a:spcBef>
        <a:buNone/>
        <a:defRPr sz="4400" b="1" i="0" kern="1200">
          <a:solidFill>
            <a:schemeClr val="tx1"/>
          </a:solidFill>
          <a:latin typeface="Helvetica" pitchFamily="2" charset="0"/>
          <a:ea typeface="Bagoss Condensed SemiBold" panose="020B0806060102020204" pitchFamily="34" charset="77"/>
          <a:cs typeface="Bagoss Condensed SemiBold" panose="020B0806060102020204" pitchFamily="34" charset="77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32110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800" r:id="rId3"/>
    <p:sldLayoutId id="2147483801" r:id="rId4"/>
    <p:sldLayoutId id="2147483802" r:id="rId5"/>
    <p:sldLayoutId id="2147483803" r:id="rId6"/>
  </p:sldLayoutIdLst>
  <p:txStyles>
    <p:titleStyle>
      <a:lvl1pPr algn="l" defTabSz="914363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1" indent="-228591" algn="l" defTabSz="91436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73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54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36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18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99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81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63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45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3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653D014-A011-492D-81B9-F9DC26A0A178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84369444"/>
              </p:ext>
            </p:extLst>
          </p:nvPr>
        </p:nvGraphicFramePr>
        <p:xfrm>
          <a:off x="1324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653D014-A011-492D-81B9-F9DC26A0A1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324" y="1323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3" name="Grid" hidden="1">
            <a:extLst>
              <a:ext uri="{FF2B5EF4-FFF2-40B4-BE49-F238E27FC236}">
                <a16:creationId xmlns:a16="http://schemas.microsoft.com/office/drawing/2014/main" id="{E775CA7C-5976-4775-867E-4905F5449B75}"/>
              </a:ext>
            </a:extLst>
          </p:cNvPr>
          <p:cNvGrpSpPr/>
          <p:nvPr/>
        </p:nvGrpSpPr>
        <p:grpSpPr>
          <a:xfrm>
            <a:off x="-211667" y="-176608"/>
            <a:ext cx="12403668" cy="7034608"/>
            <a:chOff x="-254001" y="-211930"/>
            <a:chExt cx="14884401" cy="844153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8BD34047-870C-46E1-A8E4-7479C8E60EDC}"/>
                </a:ext>
              </a:extLst>
            </p:cNvPr>
            <p:cNvSpPr/>
            <p:nvPr userDrawn="1"/>
          </p:nvSpPr>
          <p:spPr>
            <a:xfrm flipV="1">
              <a:off x="5492565" y="-211930"/>
              <a:ext cx="180000" cy="1326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1799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5D4A8EF-20EA-4A85-A76F-DCE4EAEE5D73}"/>
                </a:ext>
              </a:extLst>
            </p:cNvPr>
            <p:cNvSpPr/>
            <p:nvPr userDrawn="1"/>
          </p:nvSpPr>
          <p:spPr>
            <a:xfrm flipV="1">
              <a:off x="8957833" y="-211930"/>
              <a:ext cx="180000" cy="1326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1799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F42B3FA-B888-4AD4-BB3B-40C505AF4939}"/>
                </a:ext>
              </a:extLst>
            </p:cNvPr>
            <p:cNvSpPr/>
            <p:nvPr userDrawn="1"/>
          </p:nvSpPr>
          <p:spPr>
            <a:xfrm flipV="1">
              <a:off x="3759931" y="-211930"/>
              <a:ext cx="180000" cy="1326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1799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78B966C-3CD0-4E14-BB8D-B3E6703363BA}"/>
                </a:ext>
              </a:extLst>
            </p:cNvPr>
            <p:cNvSpPr/>
            <p:nvPr userDrawn="1"/>
          </p:nvSpPr>
          <p:spPr>
            <a:xfrm flipV="1">
              <a:off x="2027297" y="-211930"/>
              <a:ext cx="180000" cy="1326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1799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EC690BD-5F1E-40CB-92DA-5E86556AF65B}"/>
                </a:ext>
              </a:extLst>
            </p:cNvPr>
            <p:cNvSpPr/>
            <p:nvPr userDrawn="1"/>
          </p:nvSpPr>
          <p:spPr>
            <a:xfrm flipV="1">
              <a:off x="-1" y="-208926"/>
              <a:ext cx="474664" cy="1326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1799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00832C0-C969-4DCF-80ED-5B931130AA29}"/>
                </a:ext>
              </a:extLst>
            </p:cNvPr>
            <p:cNvSpPr/>
            <p:nvPr userDrawn="1"/>
          </p:nvSpPr>
          <p:spPr>
            <a:xfrm flipV="1">
              <a:off x="7225199" y="-211930"/>
              <a:ext cx="180000" cy="1326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1799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41E89B0-EA15-49A1-9F2C-9ECC7B7A3EEF}"/>
                </a:ext>
              </a:extLst>
            </p:cNvPr>
            <p:cNvSpPr/>
            <p:nvPr userDrawn="1"/>
          </p:nvSpPr>
          <p:spPr>
            <a:xfrm flipV="1">
              <a:off x="10690467" y="-211930"/>
              <a:ext cx="180000" cy="1326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1799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C9E5914-8A29-45DF-BA54-239CB92CD693}"/>
                </a:ext>
              </a:extLst>
            </p:cNvPr>
            <p:cNvSpPr/>
            <p:nvPr userDrawn="1"/>
          </p:nvSpPr>
          <p:spPr>
            <a:xfrm flipV="1">
              <a:off x="12423101" y="-211930"/>
              <a:ext cx="180000" cy="1326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1799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D9EC057-1F14-4B8F-82AE-7331D344CB4B}"/>
                </a:ext>
              </a:extLst>
            </p:cNvPr>
            <p:cNvSpPr/>
            <p:nvPr userDrawn="1"/>
          </p:nvSpPr>
          <p:spPr>
            <a:xfrm flipV="1">
              <a:off x="14155738" y="-211930"/>
              <a:ext cx="474662" cy="1326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1799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2D2DDB33-914B-4D71-A95F-C66A5D792238}"/>
                </a:ext>
              </a:extLst>
            </p:cNvPr>
            <p:cNvSpPr/>
            <p:nvPr userDrawn="1"/>
          </p:nvSpPr>
          <p:spPr>
            <a:xfrm>
              <a:off x="-254001" y="479879"/>
              <a:ext cx="108000" cy="10368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5FA0954A-04E3-4158-8A49-CB6F1778E534}"/>
                </a:ext>
              </a:extLst>
            </p:cNvPr>
            <p:cNvSpPr/>
            <p:nvPr userDrawn="1"/>
          </p:nvSpPr>
          <p:spPr>
            <a:xfrm>
              <a:off x="-254001" y="2557561"/>
              <a:ext cx="108000" cy="10368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3D2011B4-DB2B-48B5-9EB4-6E2A3581CF23}"/>
                </a:ext>
              </a:extLst>
            </p:cNvPr>
            <p:cNvSpPr/>
            <p:nvPr userDrawn="1"/>
          </p:nvSpPr>
          <p:spPr>
            <a:xfrm>
              <a:off x="-254001" y="4635243"/>
              <a:ext cx="108000" cy="10368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634F405B-243E-4F03-A574-A09FB738909A}"/>
                </a:ext>
              </a:extLst>
            </p:cNvPr>
            <p:cNvSpPr/>
            <p:nvPr userDrawn="1"/>
          </p:nvSpPr>
          <p:spPr>
            <a:xfrm>
              <a:off x="-254001" y="6712925"/>
              <a:ext cx="108000" cy="10368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F347E6FC-3EFE-4EF4-998F-BA04448FE21F}"/>
                </a:ext>
              </a:extLst>
            </p:cNvPr>
            <p:cNvSpPr/>
            <p:nvPr userDrawn="1"/>
          </p:nvSpPr>
          <p:spPr>
            <a:xfrm>
              <a:off x="-254000" y="0"/>
              <a:ext cx="108000" cy="47783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3EC965E5-3898-45C0-A300-038F51BA1728}"/>
                </a:ext>
              </a:extLst>
            </p:cNvPr>
            <p:cNvSpPr/>
            <p:nvPr userDrawn="1"/>
          </p:nvSpPr>
          <p:spPr>
            <a:xfrm>
              <a:off x="-254001" y="1518720"/>
              <a:ext cx="108000" cy="10368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2C57C3F1-8CCC-4E6A-9057-F8B423DBE1DA}"/>
                </a:ext>
              </a:extLst>
            </p:cNvPr>
            <p:cNvSpPr/>
            <p:nvPr userDrawn="1"/>
          </p:nvSpPr>
          <p:spPr>
            <a:xfrm>
              <a:off x="-254001" y="3596402"/>
              <a:ext cx="108000" cy="10368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783019D-003E-4100-B915-A0BDFC855F66}"/>
                </a:ext>
              </a:extLst>
            </p:cNvPr>
            <p:cNvSpPr/>
            <p:nvPr userDrawn="1"/>
          </p:nvSpPr>
          <p:spPr>
            <a:xfrm>
              <a:off x="-254001" y="5674084"/>
              <a:ext cx="108000" cy="10368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39CE230D-10AC-4C9E-A85F-E8D21FB03514}"/>
                </a:ext>
              </a:extLst>
            </p:cNvPr>
            <p:cNvSpPr/>
            <p:nvPr userDrawn="1"/>
          </p:nvSpPr>
          <p:spPr>
            <a:xfrm>
              <a:off x="-254001" y="7751764"/>
              <a:ext cx="108000" cy="477836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41159363-C293-40B0-B6AD-F45656651FC0}"/>
              </a:ext>
            </a:extLst>
          </p:cNvPr>
          <p:cNvSpPr txBox="1"/>
          <p:nvPr/>
        </p:nvSpPr>
        <p:spPr>
          <a:xfrm>
            <a:off x="5914030" y="6494059"/>
            <a:ext cx="409434" cy="194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12071F0B-A745-4649-9BFA-E592C8B2107B}" type="slidenum">
              <a:rPr lang="en-US" sz="667" smtClean="0"/>
              <a:pPr algn="ctr"/>
              <a:t>‹#›</a:t>
            </a:fld>
            <a:endParaRPr lang="en-US" sz="667"/>
          </a:p>
        </p:txBody>
      </p:sp>
    </p:spTree>
    <p:extLst>
      <p:ext uri="{BB962C8B-B14F-4D97-AF65-F5344CB8AC3E}">
        <p14:creationId xmlns:p14="http://schemas.microsoft.com/office/powerpoint/2010/main" val="39850989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7" r:id="rId2"/>
    <p:sldLayoutId id="2147483808" r:id="rId3"/>
    <p:sldLayoutId id="2147483809" r:id="rId4"/>
  </p:sldLayoutIdLst>
  <p:txStyles>
    <p:titleStyle>
      <a:lvl1pPr algn="l" defTabSz="914327" rtl="0" eaLnBrk="1" latinLnBrk="0" hangingPunct="1">
        <a:lnSpc>
          <a:spcPct val="83000"/>
        </a:lnSpc>
        <a:spcBef>
          <a:spcPct val="0"/>
        </a:spcBef>
        <a:buNone/>
        <a:defRPr sz="33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27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lang="en-US" sz="1500" b="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327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lang="en-US" sz="150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177786" indent="-177786" algn="l" defTabSz="914327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lang="en-US" sz="150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353985" indent="-176199" algn="l" defTabSz="914327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‒"/>
        <a:defRPr lang="en-US" sz="15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593942" indent="-222232" algn="l" defTabSz="914327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lang="en-GB" sz="15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327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77786" indent="-177786" algn="l" defTabSz="914327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353985" indent="-176199" algn="l" defTabSz="914327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‒"/>
        <a:defRPr sz="917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27" rtl="0" eaLnBrk="1" latinLnBrk="0" hangingPunct="1">
        <a:lnSpc>
          <a:spcPct val="100000"/>
        </a:lnSpc>
        <a:spcBef>
          <a:spcPts val="1800"/>
        </a:spcBef>
        <a:buFont typeface="Arial" panose="020B0604020202020204" pitchFamily="34" charset="0"/>
        <a:buNone/>
        <a:defRPr sz="8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3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7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0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4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8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80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4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8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503">
          <p15:clr>
            <a:srgbClr val="F26B43"/>
          </p15:clr>
        </p15:guide>
        <p15:guide id="2" pos="5461">
          <p15:clr>
            <a:srgbClr val="F26B43"/>
          </p15:clr>
        </p15:guide>
        <p15:guide id="3" pos="5597">
          <p15:clr>
            <a:srgbClr val="F26B43"/>
          </p15:clr>
        </p15:guide>
        <p15:guide id="4" pos="359">
          <p15:clr>
            <a:srgbClr val="F26B43"/>
          </p15:clr>
        </p15:guide>
        <p15:guide id="5" pos="10700">
          <p15:clr>
            <a:srgbClr val="F26B43"/>
          </p15:clr>
        </p15:guide>
        <p15:guide id="6" pos="4286">
          <p15:clr>
            <a:srgbClr val="F26B43"/>
          </p15:clr>
        </p15:guide>
        <p15:guide id="7" pos="4153">
          <p15:clr>
            <a:srgbClr val="F26B43"/>
          </p15:clr>
        </p15:guide>
        <p15:guide id="8" pos="2977">
          <p15:clr>
            <a:srgbClr val="F26B43"/>
          </p15:clr>
        </p15:guide>
        <p15:guide id="9" pos="2843">
          <p15:clr>
            <a:srgbClr val="F26B43"/>
          </p15:clr>
        </p15:guide>
        <p15:guide id="10" pos="1667">
          <p15:clr>
            <a:srgbClr val="F26B43"/>
          </p15:clr>
        </p15:guide>
        <p15:guide id="11" pos="1532">
          <p15:clr>
            <a:srgbClr val="F26B43"/>
          </p15:clr>
        </p15:guide>
        <p15:guide id="12" pos="6770">
          <p15:clr>
            <a:srgbClr val="F26B43"/>
          </p15:clr>
        </p15:guide>
        <p15:guide id="13" pos="6905">
          <p15:clr>
            <a:srgbClr val="F26B43"/>
          </p15:clr>
        </p15:guide>
        <p15:guide id="14" pos="8081">
          <p15:clr>
            <a:srgbClr val="F26B43"/>
          </p15:clr>
        </p15:guide>
        <p15:guide id="15" pos="8215">
          <p15:clr>
            <a:srgbClr val="F26B43"/>
          </p15:clr>
        </p15:guide>
        <p15:guide id="16" pos="9391">
          <p15:clr>
            <a:srgbClr val="F26B43"/>
          </p15:clr>
        </p15:guide>
        <p15:guide id="17" pos="9526">
          <p15:clr>
            <a:srgbClr val="F26B43"/>
          </p15:clr>
        </p15:guide>
        <p15:guide id="18" orient="horz" pos="1147">
          <p15:clr>
            <a:srgbClr val="F26B43"/>
          </p15:clr>
        </p15:guide>
        <p15:guide id="19" orient="horz" pos="1933">
          <p15:clr>
            <a:srgbClr val="F26B43"/>
          </p15:clr>
        </p15:guide>
        <p15:guide id="20" orient="horz" pos="2702">
          <p15:clr>
            <a:srgbClr val="F26B43"/>
          </p15:clr>
        </p15:guide>
        <p15:guide id="21" orient="horz" pos="4288">
          <p15:clr>
            <a:srgbClr val="F26B43"/>
          </p15:clr>
        </p15:guide>
        <p15:guide id="22" orient="horz" pos="5072">
          <p15:clr>
            <a:srgbClr val="F26B43"/>
          </p15:clr>
        </p15:guide>
        <p15:guide id="23" orient="horz" pos="5857">
          <p15:clr>
            <a:srgbClr val="F26B43"/>
          </p15:clr>
        </p15:guide>
        <p15:guide id="24" orient="horz" pos="361">
          <p15:clr>
            <a:srgbClr val="F26B43"/>
          </p15:clr>
        </p15:guide>
        <p15:guide id="25" orient="horz" pos="1430">
          <p15:clr>
            <a:srgbClr val="F26B43"/>
          </p15:clr>
        </p15:guide>
        <p15:guide id="26" orient="horz" pos="5506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11211159-798C-E0AA-17AF-FCF2B15CE463}"/>
              </a:ext>
            </a:extLst>
          </p:cNvPr>
          <p:cNvSpPr txBox="1"/>
          <p:nvPr userDrawn="1"/>
        </p:nvSpPr>
        <p:spPr>
          <a:xfrm>
            <a:off x="5914030" y="6494059"/>
            <a:ext cx="409434" cy="194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12071F0B-A745-4649-9BFA-E592C8B2107B}" type="slidenum">
              <a:rPr lang="en-US" sz="667" smtClean="0"/>
              <a:pPr algn="ctr"/>
              <a:t>‹#›</a:t>
            </a:fld>
            <a:endParaRPr lang="en-US" sz="667"/>
          </a:p>
        </p:txBody>
      </p:sp>
    </p:spTree>
    <p:extLst>
      <p:ext uri="{BB962C8B-B14F-4D97-AF65-F5344CB8AC3E}">
        <p14:creationId xmlns:p14="http://schemas.microsoft.com/office/powerpoint/2010/main" val="32007925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  <p:sldLayoutId id="2147483818" r:id="rId8"/>
    <p:sldLayoutId id="2147483819" r:id="rId9"/>
  </p:sldLayoutIdLst>
  <p:txStyles>
    <p:titleStyle>
      <a:lvl1pPr algn="l" defTabSz="761970" rtl="0" eaLnBrk="1" latinLnBrk="0" hangingPunct="1">
        <a:lnSpc>
          <a:spcPct val="90000"/>
        </a:lnSpc>
        <a:spcBef>
          <a:spcPct val="0"/>
        </a:spcBef>
        <a:buNone/>
        <a:defRPr sz="36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0492" indent="-190492" algn="l" defTabSz="761970" rtl="0" eaLnBrk="1" latinLnBrk="0" hangingPunct="1">
        <a:lnSpc>
          <a:spcPct val="90000"/>
        </a:lnSpc>
        <a:spcBef>
          <a:spcPts val="833"/>
        </a:spcBef>
        <a:buFont typeface="Arial" panose="020B0604020202020204" pitchFamily="34" charset="0"/>
        <a:buChar char="•"/>
        <a:defRPr sz="2333" kern="1200">
          <a:solidFill>
            <a:schemeClr val="tx1"/>
          </a:solidFill>
          <a:latin typeface="+mn-lt"/>
          <a:ea typeface="+mn-ea"/>
          <a:cs typeface="+mn-cs"/>
        </a:defRPr>
      </a:lvl1pPr>
      <a:lvl2pPr marL="571477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52462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3pPr>
      <a:lvl4pPr marL="1333447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714431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095416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476401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386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238370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0985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197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4295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2393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0492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8590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66893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47878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57DE5AB4-B67A-3A72-021F-4B2B83911BCB}"/>
              </a:ext>
            </a:extLst>
          </p:cNvPr>
          <p:cNvSpPr txBox="1"/>
          <p:nvPr userDrawn="1"/>
        </p:nvSpPr>
        <p:spPr>
          <a:xfrm>
            <a:off x="5914030" y="6494059"/>
            <a:ext cx="409434" cy="194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12071F0B-A745-4649-9BFA-E592C8B2107B}" type="slidenum">
              <a:rPr lang="en-US" sz="667" smtClean="0"/>
              <a:pPr algn="ctr"/>
              <a:t>‹#›</a:t>
            </a:fld>
            <a:endParaRPr lang="en-US" sz="667"/>
          </a:p>
        </p:txBody>
      </p:sp>
    </p:spTree>
    <p:extLst>
      <p:ext uri="{BB962C8B-B14F-4D97-AF65-F5344CB8AC3E}">
        <p14:creationId xmlns:p14="http://schemas.microsoft.com/office/powerpoint/2010/main" val="33200258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3" r:id="rId3"/>
    <p:sldLayoutId id="2147483824" r:id="rId4"/>
    <p:sldLayoutId id="2147483825" r:id="rId5"/>
    <p:sldLayoutId id="2147483826" r:id="rId6"/>
    <p:sldLayoutId id="2147483827" r:id="rId7"/>
    <p:sldLayoutId id="2147483828" r:id="rId8"/>
    <p:sldLayoutId id="2147483829" r:id="rId9"/>
    <p:sldLayoutId id="2147483830" r:id="rId10"/>
    <p:sldLayoutId id="2147483831" r:id="rId11"/>
    <p:sldLayoutId id="2147483832" r:id="rId12"/>
    <p:sldLayoutId id="2147483833" r:id="rId13"/>
    <p:sldLayoutId id="2147483834" r:id="rId14"/>
    <p:sldLayoutId id="2147483835" r:id="rId15"/>
    <p:sldLayoutId id="2147483836" r:id="rId16"/>
    <p:sldLayoutId id="2147483837" r:id="rId17"/>
    <p:sldLayoutId id="2147483838" r:id="rId18"/>
    <p:sldLayoutId id="2147483839" r:id="rId19"/>
    <p:sldLayoutId id="2147483840" r:id="rId20"/>
    <p:sldLayoutId id="2147483841" r:id="rId21"/>
  </p:sldLayoutIdLst>
  <p:txStyles>
    <p:titleStyle>
      <a:lvl1pPr algn="l" defTabSz="761970" rtl="0" eaLnBrk="1" latinLnBrk="0" hangingPunct="1">
        <a:lnSpc>
          <a:spcPct val="90000"/>
        </a:lnSpc>
        <a:spcBef>
          <a:spcPct val="0"/>
        </a:spcBef>
        <a:buNone/>
        <a:defRPr sz="36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0492" indent="-190492" algn="l" defTabSz="761970" rtl="0" eaLnBrk="1" latinLnBrk="0" hangingPunct="1">
        <a:lnSpc>
          <a:spcPct val="90000"/>
        </a:lnSpc>
        <a:spcBef>
          <a:spcPts val="833"/>
        </a:spcBef>
        <a:buFont typeface="Arial" panose="020B0604020202020204" pitchFamily="34" charset="0"/>
        <a:buChar char="•"/>
        <a:defRPr sz="2333" kern="1200">
          <a:solidFill>
            <a:schemeClr val="tx1"/>
          </a:solidFill>
          <a:latin typeface="+mn-lt"/>
          <a:ea typeface="+mn-ea"/>
          <a:cs typeface="+mn-cs"/>
        </a:defRPr>
      </a:lvl1pPr>
      <a:lvl2pPr marL="571477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52462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3pPr>
      <a:lvl4pPr marL="1333447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714431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095416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476401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386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238370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0985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197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4295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2393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0492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8590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66893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47878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0A22EECB-6732-278D-509F-9D0570AC98F1}"/>
              </a:ext>
            </a:extLst>
          </p:cNvPr>
          <p:cNvSpPr txBox="1"/>
          <p:nvPr userDrawn="1"/>
        </p:nvSpPr>
        <p:spPr>
          <a:xfrm>
            <a:off x="5914030" y="6494059"/>
            <a:ext cx="409434" cy="194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12071F0B-A745-4649-9BFA-E592C8B2107B}" type="slidenum">
              <a:rPr lang="en-US" sz="667" smtClean="0"/>
              <a:pPr algn="ctr"/>
              <a:t>‹#›</a:t>
            </a:fld>
            <a:endParaRPr lang="en-US" sz="667"/>
          </a:p>
        </p:txBody>
      </p:sp>
    </p:spTree>
    <p:extLst>
      <p:ext uri="{BB962C8B-B14F-4D97-AF65-F5344CB8AC3E}">
        <p14:creationId xmlns:p14="http://schemas.microsoft.com/office/powerpoint/2010/main" val="3905936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45" r:id="rId2"/>
    <p:sldLayoutId id="2147483846" r:id="rId3"/>
    <p:sldLayoutId id="2147483847" r:id="rId4"/>
    <p:sldLayoutId id="2147483848" r:id="rId5"/>
    <p:sldLayoutId id="2147483849" r:id="rId6"/>
    <p:sldLayoutId id="2147483850" r:id="rId7"/>
    <p:sldLayoutId id="2147483851" r:id="rId8"/>
    <p:sldLayoutId id="2147483852" r:id="rId9"/>
    <p:sldLayoutId id="2147483853" r:id="rId10"/>
  </p:sldLayoutIdLst>
  <p:txStyles>
    <p:titleStyle>
      <a:lvl1pPr algn="l" defTabSz="761970" rtl="0" eaLnBrk="1" latinLnBrk="0" hangingPunct="1">
        <a:lnSpc>
          <a:spcPct val="90000"/>
        </a:lnSpc>
        <a:spcBef>
          <a:spcPct val="0"/>
        </a:spcBef>
        <a:buNone/>
        <a:defRPr sz="36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0492" indent="-190492" algn="l" defTabSz="761970" rtl="0" eaLnBrk="1" latinLnBrk="0" hangingPunct="1">
        <a:lnSpc>
          <a:spcPct val="90000"/>
        </a:lnSpc>
        <a:spcBef>
          <a:spcPts val="833"/>
        </a:spcBef>
        <a:buFont typeface="Arial" panose="020B0604020202020204" pitchFamily="34" charset="0"/>
        <a:buChar char="•"/>
        <a:defRPr sz="2333" kern="1200">
          <a:solidFill>
            <a:schemeClr val="tx1"/>
          </a:solidFill>
          <a:latin typeface="+mn-lt"/>
          <a:ea typeface="+mn-ea"/>
          <a:cs typeface="+mn-cs"/>
        </a:defRPr>
      </a:lvl1pPr>
      <a:lvl2pPr marL="571477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52462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3pPr>
      <a:lvl4pPr marL="1333447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714431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095416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476401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386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238370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0985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197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4295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2393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0492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8590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66893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47878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7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competitionandmarkets.blog.gov.uk/2025/10/28/cartels-being-first-to-apply-for-leniency-matters-more-than-ever/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svg"/><Relationship Id="rId2" Type="http://schemas.openxmlformats.org/officeDocument/2006/relationships/image" Target="../media/image51.svg"/><Relationship Id="rId1" Type="http://schemas.openxmlformats.org/officeDocument/2006/relationships/slideLayout" Target="../slideLayouts/slideLayout9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competitionandmarkets.blog.gov.uk/2025/10/28/cartels-being-first-to-apply-for-leniency-matters-more-than-ever/" TargetMode="External"/><Relationship Id="rId7" Type="http://schemas.openxmlformats.org/officeDocument/2006/relationships/image" Target="../media/image5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0.xml"/><Relationship Id="rId6" Type="http://schemas.openxmlformats.org/officeDocument/2006/relationships/hyperlink" Target="https://www.gov.uk/government/publications/limiting-risk-in-relation-to-competitors-information/managing-competitively-sensitive-information" TargetMode="External"/><Relationship Id="rId5" Type="http://schemas.openxmlformats.org/officeDocument/2006/relationships/hyperlink" Target="https://www.youtube.com/watch?v=mvB1wQQjnGk&amp;t=1s" TargetMode="External"/><Relationship Id="rId4" Type="http://schemas.openxmlformats.org/officeDocument/2006/relationships/hyperlink" Target="https://www.hbf.co.uk/policy/campaigns-and-initiatives/industry-guidance-on-compliance-with-competition-law/" TargetMode="Externa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7" Type="http://schemas.openxmlformats.org/officeDocument/2006/relationships/image" Target="../media/image5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9.xml"/><Relationship Id="rId6" Type="http://schemas.openxmlformats.org/officeDocument/2006/relationships/hyperlink" Target="https://www.gov.uk/guidance/cartels-come-forward-and-apply-for-leniency" TargetMode="External"/><Relationship Id="rId5" Type="http://schemas.openxmlformats.org/officeDocument/2006/relationships/hyperlink" Target="mailto:cartelshotline@cma.gov.uk" TargetMode="External"/><Relationship Id="rId4" Type="http://schemas.openxmlformats.org/officeDocument/2006/relationships/hyperlink" Target="https://submit.forms.service.gov.uk/form/4822/report-a-cartel-to-the-cma/onSegckV" TargetMode="Externa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hyperlink" Target="mailto:comms@hbf.co.uk" TargetMode="External"/><Relationship Id="rId1" Type="http://schemas.openxmlformats.org/officeDocument/2006/relationships/slideLayout" Target="../slideLayouts/slideLayout2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D9E3C3-02E7-07E0-8C9E-F166FC1DD1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6065" y="1603142"/>
            <a:ext cx="11059864" cy="719689"/>
          </a:xfrm>
        </p:spPr>
        <p:txBody>
          <a:bodyPr/>
          <a:lstStyle/>
          <a:p>
            <a:r>
              <a:rPr lang="en-GB" dirty="0"/>
              <a:t>Competition Law for Housebuilders: What You Need to Know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D4DE421-41B1-053F-03DB-7BC36BA4EA5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3997" y="3429000"/>
            <a:ext cx="9144000" cy="528002"/>
          </a:xfrm>
        </p:spPr>
        <p:txBody>
          <a:bodyPr/>
          <a:lstStyle/>
          <a:p>
            <a:r>
              <a:rPr lang="en-GB" b="1" dirty="0"/>
              <a:t>HBF Webinar: </a:t>
            </a:r>
            <a:r>
              <a:rPr lang="en-GB" dirty="0"/>
              <a:t>7 July 2026</a:t>
            </a:r>
          </a:p>
        </p:txBody>
      </p:sp>
    </p:spTree>
    <p:extLst>
      <p:ext uri="{BB962C8B-B14F-4D97-AF65-F5344CB8AC3E}">
        <p14:creationId xmlns:p14="http://schemas.microsoft.com/office/powerpoint/2010/main" val="7741911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C40E74-50DB-4442-A7E6-9A8C70C341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507" y="684678"/>
            <a:ext cx="4478747" cy="643233"/>
          </a:xfrm>
        </p:spPr>
        <p:txBody>
          <a:bodyPr/>
          <a:lstStyle/>
          <a:p>
            <a:r>
              <a:rPr lang="en-GB" b="1" dirty="0"/>
              <a:t>Why this matters to you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17A76D-9373-9915-38FE-650F0D5978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99507" y="2107734"/>
            <a:ext cx="4478747" cy="4065588"/>
          </a:xfrm>
        </p:spPr>
        <p:txBody>
          <a:bodyPr/>
          <a:lstStyle/>
          <a:p>
            <a:pPr marL="238115" indent="-238115"/>
            <a:r>
              <a:rPr lang="en-GB" sz="1667" dirty="0"/>
              <a:t>All businesses must comply with UK competition law, regardless of their size. </a:t>
            </a:r>
          </a:p>
          <a:p>
            <a:pPr marL="238115" indent="-238115"/>
            <a:r>
              <a:rPr lang="en-GB" sz="1667" dirty="0"/>
              <a:t>The consequences of breaching competition law can be serious and can include:</a:t>
            </a:r>
          </a:p>
          <a:p>
            <a:pPr lvl="1"/>
            <a:r>
              <a:rPr lang="en-GB" sz="1667" dirty="0"/>
              <a:t>Fines of up to 10% of a business’s global turnover</a:t>
            </a:r>
          </a:p>
          <a:p>
            <a:pPr lvl="1"/>
            <a:r>
              <a:rPr lang="en-GB" sz="1667" dirty="0"/>
              <a:t>Company directors involved in breaching competition law can be disqualified from acting as a company director for up to 15 years  </a:t>
            </a:r>
          </a:p>
          <a:p>
            <a:pPr lvl="1"/>
            <a:r>
              <a:rPr lang="en-GB" sz="1667" dirty="0"/>
              <a:t>Debarment from public procurement</a:t>
            </a:r>
          </a:p>
          <a:p>
            <a:pPr lvl="1"/>
            <a:r>
              <a:rPr lang="en-GB" sz="1667" dirty="0"/>
              <a:t>Damages claims</a:t>
            </a:r>
          </a:p>
          <a:p>
            <a:r>
              <a:rPr lang="en-GB" sz="1667" dirty="0"/>
              <a:t>Low awareness of risk</a:t>
            </a:r>
          </a:p>
          <a:p>
            <a:pPr marL="380985" lvl="1" indent="0">
              <a:buNone/>
            </a:pPr>
            <a:endParaRPr lang="en-GB" sz="1667" dirty="0"/>
          </a:p>
          <a:p>
            <a:endParaRPr lang="en-GB" sz="2067" dirty="0"/>
          </a:p>
        </p:txBody>
      </p:sp>
      <p:pic>
        <p:nvPicPr>
          <p:cNvPr id="4" name="Picture 3" descr="Person leaping in air">
            <a:extLst>
              <a:ext uri="{FF2B5EF4-FFF2-40B4-BE49-F238E27FC236}">
                <a16:creationId xmlns:a16="http://schemas.microsoft.com/office/drawing/2014/main" id="{99FCFBD2-4A45-96DC-3145-249684840C9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90071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8050F6-E42B-869D-0796-251CE64DC3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AEF5EC2-1E06-EAB4-71CC-FB8D3B37E0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How we investigat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35A19D7-4B2F-1F43-11EB-23170E0226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2.</a:t>
            </a:r>
          </a:p>
        </p:txBody>
      </p:sp>
      <p:pic>
        <p:nvPicPr>
          <p:cNvPr id="12" name="Picture Placeholder 11" descr="Top view of a wooden puzzle">
            <a:extLst>
              <a:ext uri="{FF2B5EF4-FFF2-40B4-BE49-F238E27FC236}">
                <a16:creationId xmlns:a16="http://schemas.microsoft.com/office/drawing/2014/main" id="{C4C2B802-DD68-F0EC-AC54-5E0C4F113923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26" r="22126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6740596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01655A-82CA-387F-1756-010E6AFA03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/>
              <a:t>Our investigat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BBB11A-7E18-0E84-DD7D-D20B87E63F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2292" y="3136247"/>
            <a:ext cx="3972739" cy="1697701"/>
          </a:xfrm>
        </p:spPr>
        <p:txBody>
          <a:bodyPr/>
          <a:lstStyle/>
          <a:p>
            <a:pPr marL="142869" indent="-142869">
              <a:buFont typeface="Arial" panose="020B0604020202020204" pitchFamily="34" charset="0"/>
              <a:buChar char="•"/>
            </a:pPr>
            <a:r>
              <a:rPr lang="en-GB" sz="1500"/>
              <a:t>If your business has been involved in a cartel, you can benefit from </a:t>
            </a:r>
            <a:r>
              <a:rPr lang="en-GB" sz="1500" b="1"/>
              <a:t>applying for leniency</a:t>
            </a:r>
            <a:endParaRPr lang="en-GB" sz="1500"/>
          </a:p>
          <a:p>
            <a:pPr marL="142869" indent="-142869">
              <a:buFont typeface="Arial" panose="020B0604020202020204" pitchFamily="34" charset="0"/>
              <a:buChar char="•"/>
            </a:pPr>
            <a:r>
              <a:rPr lang="en-GB" sz="1500"/>
              <a:t>Under our </a:t>
            </a:r>
            <a:r>
              <a:rPr lang="en-GB" sz="1500">
                <a:hlinkClick r:id="rId3"/>
              </a:rPr>
              <a:t>new leniency guidance</a:t>
            </a:r>
            <a:r>
              <a:rPr lang="en-GB" sz="1500"/>
              <a:t>, being the first in to apply for leniency the only way to guarantee immunity from:</a:t>
            </a:r>
          </a:p>
          <a:p>
            <a:pPr marL="714346" lvl="1" indent="-142869"/>
            <a:r>
              <a:rPr lang="en-GB" sz="1500"/>
              <a:t>Penalties</a:t>
            </a:r>
          </a:p>
          <a:p>
            <a:pPr marL="714346" lvl="1" indent="-142869"/>
            <a:r>
              <a:rPr lang="en-GB" sz="1500"/>
              <a:t>Director disqualification</a:t>
            </a:r>
          </a:p>
          <a:p>
            <a:pPr marL="714346" lvl="1" indent="-142869"/>
            <a:r>
              <a:rPr lang="en-GB" sz="1500"/>
              <a:t>Criminal prosecution</a:t>
            </a:r>
          </a:p>
          <a:p>
            <a:pPr marL="714346" lvl="1" indent="-142869"/>
            <a:r>
              <a:rPr lang="en-GB" sz="1500"/>
              <a:t>Exclusion from public contracts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A5F351-8331-0328-630E-EAEC0AFB87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6970" y="3087787"/>
            <a:ext cx="4267212" cy="1815202"/>
          </a:xfrm>
        </p:spPr>
        <p:txBody>
          <a:bodyPr/>
          <a:lstStyle/>
          <a:p>
            <a:pPr marL="142869" indent="-142869">
              <a:buFont typeface="Arial" panose="020B0604020202020204" pitchFamily="34" charset="0"/>
              <a:buChar char="•"/>
            </a:pPr>
            <a:r>
              <a:rPr lang="en-GB" sz="1500"/>
              <a:t>Investigating reports of anti-competitive behaviour from:</a:t>
            </a:r>
          </a:p>
          <a:p>
            <a:pPr marL="714346" lvl="1" indent="-142869"/>
            <a:r>
              <a:rPr lang="en-GB" sz="1500"/>
              <a:t>Public officials – including procurers  and counter-fraud teams</a:t>
            </a:r>
          </a:p>
          <a:p>
            <a:pPr marL="714346" lvl="1" indent="-142869"/>
            <a:r>
              <a:rPr lang="en-GB" sz="1500"/>
              <a:t>Other businesses</a:t>
            </a:r>
          </a:p>
          <a:p>
            <a:pPr marL="714346" lvl="1" indent="-142869"/>
            <a:r>
              <a:rPr lang="en-GB" sz="1500"/>
              <a:t>Whistleblowers or informants</a:t>
            </a:r>
          </a:p>
          <a:p>
            <a:pPr marL="714346" lvl="1" indent="-142869"/>
            <a:r>
              <a:rPr lang="en-GB" sz="1500"/>
              <a:t>Members of the public</a:t>
            </a:r>
          </a:p>
          <a:p>
            <a:pPr marL="714346" lvl="1" indent="-142869"/>
            <a:r>
              <a:rPr lang="en-GB" sz="1500"/>
              <a:t>Other intelligence sources</a:t>
            </a:r>
          </a:p>
          <a:p>
            <a:pPr marL="142869" indent="-142869">
              <a:buFont typeface="Arial" panose="020B0604020202020204" pitchFamily="34" charset="0"/>
              <a:buChar char="•"/>
            </a:pPr>
            <a:r>
              <a:rPr lang="en-GB" sz="1500"/>
              <a:t>Screening public procurement data to    identify suspicious patterns</a:t>
            </a:r>
          </a:p>
          <a:p>
            <a:pPr marL="714346" lvl="1" indent="-142869"/>
            <a:endParaRPr lang="en-GB" sz="1333"/>
          </a:p>
          <a:p>
            <a:pPr marL="142869" indent="-142869"/>
            <a:endParaRPr lang="en-GB" sz="1333"/>
          </a:p>
          <a:p>
            <a:pPr marL="714346" lvl="1" indent="-142869"/>
            <a:endParaRPr lang="en-GB" sz="1333"/>
          </a:p>
          <a:p>
            <a:pPr marL="714346" lvl="1" indent="-142869"/>
            <a:endParaRPr lang="en-GB" sz="1333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58CB70C-2AF8-BAD9-3260-E7274857DB9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sz="1667"/>
              <a:t>Lenienc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583464A-D4AF-82B2-C849-756580F590A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sz="1667"/>
              <a:t>Intelligence-led</a:t>
            </a:r>
          </a:p>
        </p:txBody>
      </p:sp>
    </p:spTree>
    <p:extLst>
      <p:ext uri="{BB962C8B-B14F-4D97-AF65-F5344CB8AC3E}">
        <p14:creationId xmlns:p14="http://schemas.microsoft.com/office/powerpoint/2010/main" val="39000002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Magnifying glasses on yellow backdrop">
            <a:extLst>
              <a:ext uri="{FF2B5EF4-FFF2-40B4-BE49-F238E27FC236}">
                <a16:creationId xmlns:a16="http://schemas.microsoft.com/office/drawing/2014/main" id="{7A417284-F7B5-C685-C56D-FE776A386D9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416507" y="1"/>
            <a:ext cx="10274863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DC40E74-50DB-4442-A7E6-9A8C70C341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8919" y="917575"/>
            <a:ext cx="11233151" cy="1143000"/>
          </a:xfrm>
        </p:spPr>
        <p:txBody>
          <a:bodyPr wrap="square" anchor="ctr">
            <a:normAutofit/>
          </a:bodyPr>
          <a:lstStyle/>
          <a:p>
            <a:r>
              <a:rPr lang="en-GB" b="1"/>
              <a:t>Powers of investigation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17A76D-9373-9915-38FE-650F0D59783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48919" y="2060575"/>
            <a:ext cx="5516033" cy="4065588"/>
          </a:xfrm>
        </p:spPr>
        <p:txBody>
          <a:bodyPr wrap="square" anchor="t">
            <a:normAutofit/>
          </a:bodyPr>
          <a:lstStyle/>
          <a:p>
            <a:pPr>
              <a:lnSpc>
                <a:spcPct val="90000"/>
              </a:lnSpc>
            </a:pPr>
            <a:r>
              <a:rPr lang="en-GB" sz="2400"/>
              <a:t>Dawn raids</a:t>
            </a:r>
          </a:p>
          <a:p>
            <a:pPr>
              <a:lnSpc>
                <a:spcPct val="90000"/>
              </a:lnSpc>
            </a:pPr>
            <a:r>
              <a:rPr lang="en-GB" sz="2400"/>
              <a:t>Interviews</a:t>
            </a:r>
          </a:p>
          <a:p>
            <a:pPr>
              <a:lnSpc>
                <a:spcPct val="90000"/>
              </a:lnSpc>
            </a:pPr>
            <a:r>
              <a:rPr lang="en-GB" sz="2400"/>
              <a:t>Compelling companies to provide us with documents and information</a:t>
            </a:r>
          </a:p>
          <a:p>
            <a:pPr>
              <a:lnSpc>
                <a:spcPct val="90000"/>
              </a:lnSpc>
            </a:pPr>
            <a:r>
              <a:rPr lang="en-GB" sz="2400"/>
              <a:t>Surveillance powers</a:t>
            </a:r>
          </a:p>
          <a:p>
            <a:pPr>
              <a:lnSpc>
                <a:spcPct val="90000"/>
              </a:lnSpc>
            </a:pPr>
            <a:r>
              <a:rPr lang="en-GB" sz="2400"/>
              <a:t>Covert Human Intelligence Sources</a:t>
            </a:r>
          </a:p>
          <a:p>
            <a:pPr>
              <a:lnSpc>
                <a:spcPct val="90000"/>
              </a:lnSpc>
            </a:pPr>
            <a:r>
              <a:rPr lang="en-GB" sz="2400"/>
              <a:t>Communications data </a:t>
            </a:r>
          </a:p>
        </p:txBody>
      </p:sp>
    </p:spTree>
    <p:extLst>
      <p:ext uri="{BB962C8B-B14F-4D97-AF65-F5344CB8AC3E}">
        <p14:creationId xmlns:p14="http://schemas.microsoft.com/office/powerpoint/2010/main" val="24627459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EB190E-8B98-C087-2E39-FDAB701E0E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F9DF6F4-DFAA-F6B7-DA17-D0B679AA8F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/>
              <a:t>Information Exchange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58BB12-6CFB-2395-8C05-DEDC94C87B7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4DCFAB6-8EEC-BBD1-2C55-80E0D0480CA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3.</a:t>
            </a:r>
          </a:p>
        </p:txBody>
      </p:sp>
      <p:pic>
        <p:nvPicPr>
          <p:cNvPr id="9" name="Picture Placeholder 8" descr="Stack of hardcover books without spine titles">
            <a:extLst>
              <a:ext uri="{FF2B5EF4-FFF2-40B4-BE49-F238E27FC236}">
                <a16:creationId xmlns:a16="http://schemas.microsoft.com/office/drawing/2014/main" id="{908D5761-3703-57F0-F5BE-CD9A69D64353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81" r="2218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77916296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C0E3347-03E3-8D23-2689-C44E81A7A55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3711" y="2656450"/>
            <a:ext cx="7236479" cy="424276"/>
          </a:xfrm>
        </p:spPr>
        <p:txBody>
          <a:bodyPr/>
          <a:lstStyle/>
          <a:p>
            <a:r>
              <a:rPr lang="en-GB" sz="1667" dirty="0"/>
              <a:t>Investigation into suspected exchanges of commercially sensitive information by housebuilder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E570726-5131-0F7B-DF78-F4EBE9ED7B6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93711" y="3187925"/>
            <a:ext cx="7236479" cy="2570288"/>
          </a:xfrm>
        </p:spPr>
        <p:txBody>
          <a:bodyPr/>
          <a:lstStyle/>
          <a:p>
            <a:pPr marL="142869" indent="-142869">
              <a:buFont typeface="Arial" panose="020B0604020202020204" pitchFamily="34" charset="0"/>
              <a:buChar char="•"/>
            </a:pPr>
            <a:r>
              <a:rPr lang="en-GB" sz="1500" dirty="0"/>
              <a:t>Following the Market Study, the CMA opened an investigation into suspects exchanges of commercially sensitive information by certain housebuilders.</a:t>
            </a:r>
          </a:p>
          <a:p>
            <a:pPr marL="142869" indent="-142869">
              <a:buFont typeface="Arial" panose="020B0604020202020204" pitchFamily="34" charset="0"/>
              <a:buChar char="•"/>
            </a:pPr>
            <a:r>
              <a:rPr lang="en-GB" sz="1500" dirty="0"/>
              <a:t>The housebuilders offered a package of legally binding commitments to address the CMA’s concerns. These commitments included:</a:t>
            </a:r>
          </a:p>
          <a:p>
            <a:pPr marL="714346" lvl="1" indent="-142869"/>
            <a:r>
              <a:rPr lang="en-GB" sz="1500" dirty="0"/>
              <a:t>a combined </a:t>
            </a:r>
            <a:r>
              <a:rPr lang="en-GB" sz="1500" b="1" dirty="0"/>
              <a:t>£100 million payment </a:t>
            </a:r>
            <a:r>
              <a:rPr lang="en-GB" sz="1500" dirty="0"/>
              <a:t>to be split between affordable housing programmes across all 4 UK nations. </a:t>
            </a:r>
          </a:p>
          <a:p>
            <a:pPr marL="714346" lvl="1" indent="-142869"/>
            <a:r>
              <a:rPr lang="en-GB" sz="1500" dirty="0"/>
              <a:t>work with the Home Builders Federation and Homes for Scotland to develop </a:t>
            </a:r>
            <a:r>
              <a:rPr lang="en-GB" sz="1500" b="1" dirty="0"/>
              <a:t>industry-wide guidance </a:t>
            </a:r>
            <a:r>
              <a:rPr lang="en-GB" sz="1500" dirty="0"/>
              <a:t>on information sharing. </a:t>
            </a:r>
          </a:p>
          <a:p>
            <a:pPr marL="714346" lvl="1" indent="-142869"/>
            <a:r>
              <a:rPr lang="en-GB" sz="1500" dirty="0"/>
              <a:t>agree </a:t>
            </a:r>
            <a:r>
              <a:rPr lang="en-GB" sz="1500" b="1" dirty="0"/>
              <a:t>not to share certain types of information </a:t>
            </a:r>
            <a:r>
              <a:rPr lang="en-GB" sz="1500" dirty="0"/>
              <a:t>with other housebuilders, including the prices houses have been sold for, except in limited circumstances. </a:t>
            </a:r>
          </a:p>
          <a:p>
            <a:pPr marL="142869" indent="-142869">
              <a:buFont typeface="Arial" panose="020B0604020202020204" pitchFamily="34" charset="0"/>
              <a:buChar char="•"/>
            </a:pPr>
            <a:r>
              <a:rPr lang="en-GB" sz="1500" dirty="0"/>
              <a:t>The CMA accepted the commitments in October 2025. As a result, the CMA discontinued the investigation with no decision made as to whether the case parties infringed competition law.</a:t>
            </a:r>
          </a:p>
          <a:p>
            <a:pPr marL="142869" indent="-142869"/>
            <a:endParaRPr lang="en-GB" sz="100" dirty="0"/>
          </a:p>
          <a:p>
            <a:pPr marL="714346" lvl="1" indent="-142869"/>
            <a:endParaRPr lang="en-GB" sz="1000" dirty="0"/>
          </a:p>
          <a:p>
            <a:pPr marL="142869" indent="-142869"/>
            <a:endParaRPr lang="en-GB" sz="100" dirty="0"/>
          </a:p>
          <a:p>
            <a:pPr marL="142869" indent="-142869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ECEE13C-C3DD-FB18-364D-6ED6AFFA375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93711" y="1371910"/>
            <a:ext cx="7236479" cy="240771"/>
          </a:xfrm>
        </p:spPr>
        <p:txBody>
          <a:bodyPr/>
          <a:lstStyle/>
          <a:p>
            <a:r>
              <a:rPr lang="en-GB" sz="1667" dirty="0"/>
              <a:t>Housebuilding Market Study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A9310F6-AE02-2E03-C838-E3FFD4515C5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93711" y="1684439"/>
            <a:ext cx="7236479" cy="864811"/>
          </a:xfrm>
        </p:spPr>
        <p:txBody>
          <a:bodyPr/>
          <a:lstStyle/>
          <a:p>
            <a:pPr marL="142869" indent="-142869">
              <a:buFont typeface="Arial" panose="020B0604020202020204" pitchFamily="34" charset="0"/>
              <a:buChar char="•"/>
            </a:pPr>
            <a:r>
              <a:rPr lang="en-GB" sz="1500" dirty="0"/>
              <a:t>The CMA published a market study report on the housebuilding industry in 2024.</a:t>
            </a:r>
          </a:p>
          <a:p>
            <a:pPr marL="142869" indent="-142869">
              <a:buFont typeface="Arial" panose="020B0604020202020204" pitchFamily="34" charset="0"/>
              <a:buChar char="•"/>
            </a:pPr>
            <a:r>
              <a:rPr lang="en-GB" sz="1500" dirty="0"/>
              <a:t>Evidence found during the study indicated some housebuilders may be sharing commercially sensitive information with their competitors. </a:t>
            </a:r>
          </a:p>
          <a:p>
            <a:endParaRPr lang="en-GB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857F15EB-5C8C-B75B-BBE2-D86D9F12C6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ackground to our investigation</a:t>
            </a:r>
          </a:p>
        </p:txBody>
      </p:sp>
    </p:spTree>
    <p:extLst>
      <p:ext uri="{BB962C8B-B14F-4D97-AF65-F5344CB8AC3E}">
        <p14:creationId xmlns:p14="http://schemas.microsoft.com/office/powerpoint/2010/main" val="354306725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DEBFBC-72D0-F310-6BD8-D25A47DF96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736BA90-9391-B0F1-92FE-BE1117452A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3709" y="1809605"/>
            <a:ext cx="7236479" cy="424276"/>
          </a:xfrm>
        </p:spPr>
        <p:txBody>
          <a:bodyPr/>
          <a:lstStyle/>
          <a:p>
            <a:r>
              <a:rPr lang="en-GB" sz="1667" dirty="0"/>
              <a:t>What you need to know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7E5A465-6234-399F-3886-8D6D08E50A2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93707" y="2143856"/>
            <a:ext cx="7236479" cy="2570288"/>
          </a:xfrm>
        </p:spPr>
        <p:txBody>
          <a:bodyPr/>
          <a:lstStyle/>
          <a:p>
            <a:pPr marL="142869" indent="-142869">
              <a:buFont typeface="Arial" panose="020B0604020202020204" pitchFamily="34" charset="0"/>
              <a:buChar char="•"/>
            </a:pPr>
            <a:r>
              <a:rPr lang="en-GB" sz="1500" dirty="0"/>
              <a:t>UK competition law prohibits the exchange of competitively sensitive information (‘CSI’) between competitors, with only limited exceptions. </a:t>
            </a:r>
          </a:p>
          <a:p>
            <a:pPr marL="142869" indent="-142869">
              <a:buFont typeface="Arial" panose="020B0604020202020204" pitchFamily="34" charset="0"/>
              <a:buChar char="•"/>
            </a:pPr>
            <a:r>
              <a:rPr lang="en-GB" sz="1500" dirty="0"/>
              <a:t>This applies however CSI is exchanged, including (but not limited to) when information is shared directly between competitors in meetings, by email, phone calls, face-to-face, through messaging apps, or on social media.</a:t>
            </a:r>
          </a:p>
          <a:p>
            <a:pPr marL="142869" indent="-142869">
              <a:buFont typeface="Arial" panose="020B0604020202020204" pitchFamily="34" charset="0"/>
              <a:buChar char="•"/>
            </a:pPr>
            <a:r>
              <a:rPr lang="en-GB" sz="1500" dirty="0"/>
              <a:t>Competition law also prohibits the </a:t>
            </a:r>
            <a:r>
              <a:rPr lang="en-GB" sz="1500" b="1" dirty="0"/>
              <a:t>indirect</a:t>
            </a:r>
            <a:r>
              <a:rPr lang="en-GB" sz="1500" dirty="0"/>
              <a:t> exchange of CSI with competitors (</a:t>
            </a:r>
            <a:r>
              <a:rPr lang="en-GB" sz="1500" dirty="0" err="1"/>
              <a:t>eg</a:t>
            </a:r>
            <a:r>
              <a:rPr lang="en-GB" sz="1500" dirty="0"/>
              <a:t> through a third party such as an agent, trade forum or lender).</a:t>
            </a:r>
          </a:p>
          <a:p>
            <a:pPr marL="142869" indent="-142869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39D5AEC-1F13-C8FE-5F94-58A602A03A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formation exchange: key principle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7FD81B0C-F609-EAF5-8A1B-160121470A9C}"/>
              </a:ext>
            </a:extLst>
          </p:cNvPr>
          <p:cNvSpPr txBox="1">
            <a:spLocks/>
          </p:cNvSpPr>
          <p:nvPr/>
        </p:nvSpPr>
        <p:spPr>
          <a:xfrm>
            <a:off x="4293707" y="4395039"/>
            <a:ext cx="7236479" cy="80053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8115" indent="-238115" defTabSz="761970" fontAlgn="auto">
              <a:spcBef>
                <a:spcPts val="833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GB" sz="1500" dirty="0">
              <a:solidFill>
                <a:srgbClr val="042869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09049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C49E7A-3FBD-97CE-4CF0-70CE3EAC0B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52D215-26A1-17EA-7558-5D296B64475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sz="1667" dirty="0"/>
              <a:t>What is Competitively Sensitive Information (CSI)?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72190AC3-E029-C516-5E0D-73BD53B9C5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formation exchange: key principl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1F94B5-B89D-0FE4-2796-2AB166DC5F5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93711" y="1999208"/>
            <a:ext cx="7236479" cy="800538"/>
          </a:xfrm>
        </p:spPr>
        <p:txBody>
          <a:bodyPr/>
          <a:lstStyle/>
          <a:p>
            <a:pPr marL="142869" indent="-142869">
              <a:buFont typeface="Arial" panose="020B0604020202020204" pitchFamily="34" charset="0"/>
              <a:buChar char="•"/>
            </a:pPr>
            <a:r>
              <a:rPr lang="en-GB" sz="1500" dirty="0"/>
              <a:t>Competitively sensitive information covers any non-public strategic information about a business’s commercial policy. It includes, but is not limited to, future pricing and output plans. </a:t>
            </a:r>
          </a:p>
          <a:p>
            <a:pPr marL="142869" indent="-142869">
              <a:buFont typeface="Arial" panose="020B0604020202020204" pitchFamily="34" charset="0"/>
              <a:buChar char="•"/>
            </a:pPr>
            <a:r>
              <a:rPr lang="en-GB" sz="1500" dirty="0"/>
              <a:t>Whether information is competitively sensitive usually depends on whether it is useful to a competitor when setting its competitive strategy (including pricing) or whether it otherwise reduces uncertainty around how the relevant market operates. 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8FB47FA9-3BBC-1F84-A769-AA1531AE5B97}"/>
              </a:ext>
            </a:extLst>
          </p:cNvPr>
          <p:cNvSpPr/>
          <p:nvPr/>
        </p:nvSpPr>
        <p:spPr>
          <a:xfrm>
            <a:off x="4293711" y="3907466"/>
            <a:ext cx="7359539" cy="2179674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36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1667" b="1" dirty="0">
                <a:solidFill>
                  <a:prstClr val="white"/>
                </a:solidFill>
                <a:latin typeface="Arial" panose="020B0604020202020204"/>
              </a:rPr>
              <a:t>Ask yourself:</a:t>
            </a:r>
          </a:p>
          <a:p>
            <a:pPr marL="285739" indent="-285739" defTabSz="914363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667" dirty="0">
                <a:solidFill>
                  <a:prstClr val="white"/>
                </a:solidFill>
                <a:latin typeface="Arial" panose="020B0604020202020204"/>
              </a:rPr>
              <a:t>Is this information which is not in the public domain? </a:t>
            </a:r>
          </a:p>
          <a:p>
            <a:pPr marL="285739" indent="-285739" defTabSz="914363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667" dirty="0">
                <a:solidFill>
                  <a:prstClr val="white"/>
                </a:solidFill>
                <a:latin typeface="Arial" panose="020B0604020202020204"/>
              </a:rPr>
              <a:t>If my competitor knew this information, would they be able to change their market behaviour in response to the information (e.g. by adapting their pricing)? </a:t>
            </a:r>
          </a:p>
          <a:p>
            <a:pPr defTabSz="91436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1667" dirty="0">
                <a:solidFill>
                  <a:prstClr val="white"/>
                </a:solidFill>
                <a:latin typeface="Arial" panose="020B0604020202020204"/>
              </a:rPr>
              <a:t>If either of the questions above is “yes”, the information could be CSI. </a:t>
            </a:r>
          </a:p>
        </p:txBody>
      </p:sp>
    </p:spTree>
    <p:extLst>
      <p:ext uri="{BB962C8B-B14F-4D97-AF65-F5344CB8AC3E}">
        <p14:creationId xmlns:p14="http://schemas.microsoft.com/office/powerpoint/2010/main" val="154729354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E4BFCB8-38A9-6D42-6E78-AF3EF3354D1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95553" y="2133149"/>
            <a:ext cx="5531760" cy="4542896"/>
          </a:xfrm>
        </p:spPr>
        <p:txBody>
          <a:bodyPr/>
          <a:lstStyle/>
          <a:p>
            <a:pPr>
              <a:buClr>
                <a:srgbClr val="339933"/>
              </a:buClr>
              <a:buFont typeface="Wingdings" panose="05000000000000000000" pitchFamily="2" charset="2"/>
              <a:buChar char="ü"/>
            </a:pPr>
            <a:r>
              <a:rPr lang="en-GB" sz="1667" b="1" dirty="0"/>
              <a:t>Do </a:t>
            </a:r>
            <a:r>
              <a:rPr lang="en-GB" sz="1667" dirty="0"/>
              <a:t>use only your own information or public information when setting prices or incentives.</a:t>
            </a:r>
          </a:p>
          <a:p>
            <a:pPr>
              <a:buClr>
                <a:srgbClr val="339933"/>
              </a:buClr>
              <a:buFont typeface="Wingdings" panose="05000000000000000000" pitchFamily="2" charset="2"/>
              <a:buChar char="ü"/>
            </a:pPr>
            <a:r>
              <a:rPr lang="en-GB" sz="1667" b="1" dirty="0"/>
              <a:t>Do</a:t>
            </a:r>
            <a:r>
              <a:rPr lang="en-GB" sz="1667" dirty="0"/>
              <a:t> protect your company’s own confidential information from disclosure. </a:t>
            </a:r>
          </a:p>
          <a:p>
            <a:pPr>
              <a:buClr>
                <a:srgbClr val="339933"/>
              </a:buClr>
              <a:buFont typeface="Wingdings" panose="05000000000000000000" pitchFamily="2" charset="2"/>
              <a:buChar char="ü"/>
            </a:pPr>
            <a:r>
              <a:rPr lang="en-GB" sz="1667" b="1" dirty="0"/>
              <a:t>Do </a:t>
            </a:r>
            <a:r>
              <a:rPr lang="en-GB" sz="1667" dirty="0"/>
              <a:t>use formal agendas and take minutes if you are meeting competitors and ensure CSI is not shared</a:t>
            </a:r>
          </a:p>
          <a:p>
            <a:pPr>
              <a:buClr>
                <a:srgbClr val="339933"/>
              </a:buClr>
              <a:buFont typeface="Wingdings" panose="05000000000000000000" pitchFamily="2" charset="2"/>
              <a:buChar char="ü"/>
            </a:pPr>
            <a:r>
              <a:rPr lang="en-GB" sz="1667" b="1" dirty="0"/>
              <a:t>Do </a:t>
            </a:r>
            <a:r>
              <a:rPr lang="en-GB" sz="1667" dirty="0"/>
              <a:t>object and report it if a competitor offers to share CSI and, if necessary, leave the discussion.</a:t>
            </a:r>
          </a:p>
          <a:p>
            <a:pPr>
              <a:buClr>
                <a:srgbClr val="339933"/>
              </a:buClr>
              <a:buFont typeface="Wingdings" panose="05000000000000000000" pitchFamily="2" charset="2"/>
              <a:buChar char="ü"/>
            </a:pPr>
            <a:r>
              <a:rPr lang="en-GB" sz="1667" b="1" dirty="0"/>
              <a:t>Do </a:t>
            </a:r>
            <a:r>
              <a:rPr lang="en-GB" sz="1667" dirty="0"/>
              <a:t>be mindful of information received from third parties and whether it is suitably aggregated, anonymised, public or historic.</a:t>
            </a:r>
          </a:p>
          <a:p>
            <a:pPr>
              <a:buClr>
                <a:srgbClr val="339933"/>
              </a:buClr>
              <a:buFont typeface="Wingdings" panose="05000000000000000000" pitchFamily="2" charset="2"/>
              <a:buChar char="ü"/>
            </a:pPr>
            <a:r>
              <a:rPr lang="en-GB" sz="1667" b="1" dirty="0"/>
              <a:t>Do </a:t>
            </a:r>
            <a:r>
              <a:rPr lang="en-GB" sz="1667" dirty="0"/>
              <a:t>familiarise yourself with competition law and guidance</a:t>
            </a:r>
          </a:p>
          <a:p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EAE4ED2-8E90-E9E5-7F34-827DFEF967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do’s and don’ts for housebuilder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34D9C26-B1FF-032C-26CE-1B8DBF878DFE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264689" y="2133149"/>
            <a:ext cx="5531760" cy="4542896"/>
          </a:xfrm>
        </p:spPr>
        <p:txBody>
          <a:bodyPr/>
          <a:lstStyle/>
          <a:p>
            <a:pPr>
              <a:buClr>
                <a:schemeClr val="accent4"/>
              </a:buClr>
              <a:buFont typeface="Arial" panose="020B0604020202020204" pitchFamily="34" charset="0"/>
              <a:buChar char="×"/>
            </a:pPr>
            <a:r>
              <a:rPr lang="en-GB" sz="1667" b="1" dirty="0"/>
              <a:t>Don’t</a:t>
            </a:r>
            <a:r>
              <a:rPr lang="en-GB" sz="1667" dirty="0"/>
              <a:t> share CSI with your competitors – including through social channels (</a:t>
            </a:r>
            <a:r>
              <a:rPr lang="en-GB" sz="1667" dirty="0" err="1"/>
              <a:t>eg</a:t>
            </a:r>
            <a:r>
              <a:rPr lang="en-GB" sz="1667" dirty="0"/>
              <a:t> </a:t>
            </a:r>
            <a:r>
              <a:rPr lang="en-GB" sz="1667" dirty="0" err="1"/>
              <a:t>Whatsapp</a:t>
            </a:r>
            <a:r>
              <a:rPr lang="en-GB" sz="1667" dirty="0"/>
              <a:t>; social media)</a:t>
            </a:r>
          </a:p>
          <a:p>
            <a:pPr>
              <a:buClr>
                <a:schemeClr val="accent4"/>
              </a:buClr>
              <a:buFont typeface="Arial" panose="020B0604020202020204" pitchFamily="34" charset="0"/>
              <a:buChar char="×"/>
            </a:pPr>
            <a:r>
              <a:rPr lang="en-GB" sz="1667" b="1" dirty="0"/>
              <a:t>Don’t</a:t>
            </a:r>
            <a:r>
              <a:rPr lang="en-GB" sz="1667" dirty="0"/>
              <a:t> discuss with competitors information about:</a:t>
            </a:r>
          </a:p>
          <a:p>
            <a:pPr lvl="1">
              <a:buClr>
                <a:schemeClr val="accent4"/>
              </a:buClr>
              <a:buFont typeface="Arial" panose="020B0604020202020204" pitchFamily="34" charset="0"/>
              <a:buChar char="×"/>
            </a:pPr>
            <a:r>
              <a:rPr lang="en-GB" sz="1500" dirty="0"/>
              <a:t>the </a:t>
            </a:r>
            <a:r>
              <a:rPr lang="en-GB" sz="1500" b="1" dirty="0"/>
              <a:t>price</a:t>
            </a:r>
            <a:r>
              <a:rPr lang="en-GB" sz="1500" dirty="0"/>
              <a:t> at which sales are agreed </a:t>
            </a:r>
          </a:p>
          <a:p>
            <a:pPr lvl="1">
              <a:buClr>
                <a:schemeClr val="accent4"/>
              </a:buClr>
              <a:buFont typeface="Arial" panose="020B0604020202020204" pitchFamily="34" charset="0"/>
              <a:buChar char="×"/>
            </a:pPr>
            <a:r>
              <a:rPr lang="en-GB" sz="1500" b="1" dirty="0"/>
              <a:t>incentives </a:t>
            </a:r>
            <a:r>
              <a:rPr lang="en-GB" sz="1500" dirty="0"/>
              <a:t>agreed with customers</a:t>
            </a:r>
          </a:p>
          <a:p>
            <a:pPr lvl="1">
              <a:buClr>
                <a:schemeClr val="accent4"/>
              </a:buClr>
              <a:buFont typeface="Arial" panose="020B0604020202020204" pitchFamily="34" charset="0"/>
              <a:buChar char="×"/>
            </a:pPr>
            <a:r>
              <a:rPr lang="en-GB" sz="1500" b="1" dirty="0"/>
              <a:t>sales volumes </a:t>
            </a:r>
            <a:r>
              <a:rPr lang="en-GB" sz="1500" dirty="0"/>
              <a:t>(including reservations, cancellations and completions)</a:t>
            </a:r>
          </a:p>
          <a:p>
            <a:pPr lvl="1">
              <a:buClr>
                <a:schemeClr val="accent4"/>
              </a:buClr>
              <a:buFont typeface="Arial" panose="020B0604020202020204" pitchFamily="34" charset="0"/>
              <a:buChar char="×"/>
            </a:pPr>
            <a:r>
              <a:rPr lang="en-GB" sz="1500" b="1" dirty="0"/>
              <a:t>visitor information</a:t>
            </a:r>
          </a:p>
          <a:p>
            <a:pPr>
              <a:buClr>
                <a:schemeClr val="accent4"/>
              </a:buClr>
              <a:buFont typeface="Arial" panose="020B0604020202020204" pitchFamily="34" charset="0"/>
              <a:buChar char="×"/>
            </a:pPr>
            <a:r>
              <a:rPr lang="en-GB" sz="1667" b="1" dirty="0"/>
              <a:t>Don’t</a:t>
            </a:r>
            <a:r>
              <a:rPr lang="en-GB" sz="1667" dirty="0"/>
              <a:t> share information with others (lenders, agents etc) unless you have sought confirmation it will be not be shared further unless aggregated &amp; anonymised</a:t>
            </a:r>
            <a:endParaRPr lang="en-GB" sz="1667" b="1" dirty="0"/>
          </a:p>
          <a:p>
            <a:pPr marL="0" indent="0">
              <a:buNone/>
            </a:pPr>
            <a:endParaRPr lang="en-GB" dirty="0"/>
          </a:p>
          <a:p>
            <a:pPr lvl="1"/>
            <a:endParaRPr lang="en-GB" dirty="0"/>
          </a:p>
          <a:p>
            <a:endParaRPr lang="en-GB" dirty="0"/>
          </a:p>
        </p:txBody>
      </p:sp>
      <p:pic>
        <p:nvPicPr>
          <p:cNvPr id="6" name="Graphic 5" descr="Tick with solid fill">
            <a:extLst>
              <a:ext uri="{FF2B5EF4-FFF2-40B4-BE49-F238E27FC236}">
                <a16:creationId xmlns:a16="http://schemas.microsoft.com/office/drawing/2014/main" id="{45D0550D-8519-50F1-8D2C-607FAC15126B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2994838" y="1317928"/>
            <a:ext cx="762000" cy="762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7D0BEA6-13AA-5F1A-0ED1-5C5626FA8F4D}"/>
              </a:ext>
            </a:extLst>
          </p:cNvPr>
          <p:cNvSpPr txBox="1"/>
          <p:nvPr/>
        </p:nvSpPr>
        <p:spPr>
          <a:xfrm>
            <a:off x="1949303" y="1308206"/>
            <a:ext cx="1426535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6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4500" dirty="0">
                <a:solidFill>
                  <a:srgbClr val="00B050"/>
                </a:solidFill>
                <a:latin typeface="Arial" panose="020B0604020202020204"/>
                <a:ea typeface="+mn-ea"/>
              </a:rPr>
              <a:t>do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E064773-391D-F4E1-A9C7-4834CAE2CDC2}"/>
              </a:ext>
            </a:extLst>
          </p:cNvPr>
          <p:cNvSpPr txBox="1"/>
          <p:nvPr/>
        </p:nvSpPr>
        <p:spPr>
          <a:xfrm>
            <a:off x="7584560" y="1321650"/>
            <a:ext cx="1913858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6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4500" dirty="0">
                <a:solidFill>
                  <a:srgbClr val="81001E"/>
                </a:solidFill>
                <a:latin typeface="Arial" panose="020B0604020202020204"/>
                <a:ea typeface="+mn-ea"/>
              </a:rPr>
              <a:t>don’t</a:t>
            </a:r>
          </a:p>
        </p:txBody>
      </p:sp>
      <p:pic>
        <p:nvPicPr>
          <p:cNvPr id="11" name="Graphic 10" descr="Badge Cross with solid fill">
            <a:extLst>
              <a:ext uri="{FF2B5EF4-FFF2-40B4-BE49-F238E27FC236}">
                <a16:creationId xmlns:a16="http://schemas.microsoft.com/office/drawing/2014/main" id="{E3E48C6F-2ABA-5FA3-2FF4-DEDE16C51C27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50325" y="1346399"/>
            <a:ext cx="7620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285478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ECD2E8-D96D-33BD-B05C-6CCBE953D3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5274ED2-0FB3-7D75-A6A3-A844E6D810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4221" y="3889574"/>
            <a:ext cx="5794291" cy="1530653"/>
          </a:xfrm>
        </p:spPr>
        <p:txBody>
          <a:bodyPr>
            <a:normAutofit fontScale="90000"/>
          </a:bodyPr>
          <a:lstStyle/>
          <a:p>
            <a:r>
              <a:rPr lang="en-GB"/>
              <a:t>Find out more &amp; how to repor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4E411D3-4913-152B-AD8C-BE36A9AD0F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4.</a:t>
            </a:r>
          </a:p>
        </p:txBody>
      </p:sp>
      <p:pic>
        <p:nvPicPr>
          <p:cNvPr id="11" name="Picture Placeholder 10" descr="Angle view of modern financial skyscrapers at sunrise">
            <a:extLst>
              <a:ext uri="{FF2B5EF4-FFF2-40B4-BE49-F238E27FC236}">
                <a16:creationId xmlns:a16="http://schemas.microsoft.com/office/drawing/2014/main" id="{01B10CB2-C521-E7AB-3B5A-498130088979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26" r="22126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4797164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732488F-E5C2-3CBD-5EA9-4F9B210CB971}"/>
              </a:ext>
            </a:extLst>
          </p:cNvPr>
          <p:cNvSpPr txBox="1"/>
          <p:nvPr/>
        </p:nvSpPr>
        <p:spPr>
          <a:xfrm>
            <a:off x="547380" y="3992358"/>
            <a:ext cx="10585176" cy="230832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3600" b="1" dirty="0">
                <a:solidFill>
                  <a:schemeClr val="bg1"/>
                </a:solidFill>
                <a:latin typeface="Arial"/>
                <a:ea typeface="ＭＳ Ｐゴシック"/>
                <a:cs typeface="Arial"/>
              </a:rPr>
              <a:t>Chair</a:t>
            </a:r>
          </a:p>
          <a:p>
            <a:r>
              <a:rPr lang="en-GB" sz="3600" b="1" dirty="0">
                <a:solidFill>
                  <a:schemeClr val="bg1"/>
                </a:solidFill>
                <a:latin typeface="Arial"/>
                <a:ea typeface="ＭＳ Ｐゴシック"/>
                <a:cs typeface="Arial"/>
              </a:rPr>
              <a:t>Steve Turner</a:t>
            </a:r>
          </a:p>
          <a:p>
            <a:r>
              <a:rPr lang="en-GB" sz="3600" dirty="0">
                <a:solidFill>
                  <a:schemeClr val="bg1"/>
                </a:solidFill>
                <a:latin typeface="Arial"/>
                <a:ea typeface="ＭＳ Ｐゴシック"/>
                <a:cs typeface="Arial"/>
              </a:rPr>
              <a:t>Executive Director</a:t>
            </a:r>
          </a:p>
          <a:p>
            <a:r>
              <a:rPr lang="en-GB" sz="3600" dirty="0">
                <a:solidFill>
                  <a:schemeClr val="bg1"/>
                </a:solidFill>
                <a:latin typeface="Arial"/>
                <a:ea typeface="ＭＳ Ｐゴシック"/>
                <a:cs typeface="Arial"/>
              </a:rPr>
              <a:t>Home Builders Federation</a:t>
            </a:r>
          </a:p>
        </p:txBody>
      </p:sp>
      <p:pic>
        <p:nvPicPr>
          <p:cNvPr id="3" name="Picture 2" descr="A black background with a red sign&#10;&#10;AI-generated content may be incorrect.">
            <a:extLst>
              <a:ext uri="{FF2B5EF4-FFF2-40B4-BE49-F238E27FC236}">
                <a16:creationId xmlns:a16="http://schemas.microsoft.com/office/drawing/2014/main" id="{3AFA4938-D4CC-E1E5-CA15-1FADB25DC45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054"/>
          <a:stretch/>
        </p:blipFill>
        <p:spPr>
          <a:xfrm>
            <a:off x="374381" y="457591"/>
            <a:ext cx="1731821" cy="362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839061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4F3D615-43ED-2F4D-833E-4195F0E6FA05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/>
              <a:t>Our Cheating or Competing campaign page houses:</a:t>
            </a:r>
          </a:p>
          <a:p>
            <a:pPr marL="238105" indent="-238105"/>
            <a:r>
              <a:rPr lang="en-GB"/>
              <a:t>Free e-learning module on bid-rigging dangers</a:t>
            </a:r>
          </a:p>
          <a:p>
            <a:pPr marL="238105" indent="-238105"/>
            <a:r>
              <a:rPr lang="en-GB"/>
              <a:t>Series of animated explainer films and reporting info</a:t>
            </a:r>
          </a:p>
          <a:p>
            <a:pPr marL="238105" indent="-238105"/>
            <a:r>
              <a:rPr lang="en-GB"/>
              <a:t>Case studies </a:t>
            </a:r>
          </a:p>
          <a:p>
            <a:pPr marL="0" indent="0">
              <a:buNone/>
            </a:pPr>
            <a:r>
              <a:rPr lang="en-GB" b="1">
                <a:solidFill>
                  <a:srgbClr val="C75300"/>
                </a:solidFill>
              </a:rPr>
              <a:t>	VISIT: </a:t>
            </a:r>
            <a:r>
              <a:rPr lang="en-GB" b="1" u="sng">
                <a:solidFill>
                  <a:srgbClr val="C75300"/>
                </a:solidFill>
              </a:rPr>
              <a:t>gov.uk/cheating-or-competing </a:t>
            </a:r>
          </a:p>
          <a:p>
            <a:pPr marL="0" indent="0">
              <a:buNone/>
            </a:pPr>
            <a:endParaRPr lang="en-GB" b="1" u="sng">
              <a:solidFill>
                <a:srgbClr val="C75300"/>
              </a:solidFill>
            </a:endParaRPr>
          </a:p>
          <a:p>
            <a:r>
              <a:rPr lang="en-GB"/>
              <a:t>CMA blog on leniency: </a:t>
            </a:r>
            <a:r>
              <a:rPr lang="en-GB" b="1">
                <a:solidFill>
                  <a:schemeClr val="accent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hy being first in matters more than ever</a:t>
            </a:r>
            <a:endParaRPr lang="en-GB" b="1">
              <a:solidFill>
                <a:schemeClr val="accent1"/>
              </a:solidFill>
            </a:endParaRPr>
          </a:p>
          <a:p>
            <a:pPr marL="142869" indent="-142869"/>
            <a:endParaRPr lang="en-GB" b="1"/>
          </a:p>
          <a:p>
            <a:pPr marL="142869" indent="-142869"/>
            <a:r>
              <a:rPr lang="en-GB"/>
              <a:t>HBF &amp; </a:t>
            </a:r>
            <a:r>
              <a:rPr lang="en-GB" err="1"/>
              <a:t>HfS</a:t>
            </a:r>
            <a:r>
              <a:rPr lang="en-GB" b="1"/>
              <a:t> </a:t>
            </a:r>
            <a:r>
              <a:rPr lang="en-GB" b="1">
                <a:solidFill>
                  <a:schemeClr val="accent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dustry guidance on compliance with competition law</a:t>
            </a:r>
            <a:endParaRPr lang="en-GB" b="1">
              <a:solidFill>
                <a:schemeClr val="accent1"/>
              </a:solidFill>
            </a:endParaRPr>
          </a:p>
          <a:p>
            <a:pPr marL="142869" indent="-142869"/>
            <a:r>
              <a:rPr lang="en-GB"/>
              <a:t>CMA </a:t>
            </a:r>
            <a:r>
              <a:rPr lang="en-GB" b="1">
                <a:solidFill>
                  <a:schemeClr val="accent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ideo on information you shouldn't share with other businesses </a:t>
            </a:r>
            <a:endParaRPr lang="en-GB" b="1">
              <a:solidFill>
                <a:schemeClr val="accent1"/>
              </a:solidFill>
            </a:endParaRPr>
          </a:p>
          <a:p>
            <a:pPr marL="142869" indent="-142869"/>
            <a:r>
              <a:rPr lang="en-GB"/>
              <a:t>CMA </a:t>
            </a:r>
            <a:r>
              <a:rPr lang="en-GB" b="1">
                <a:solidFill>
                  <a:schemeClr val="accent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2014 guidance on managing competitively sensitive information </a:t>
            </a:r>
            <a:endParaRPr lang="en-GB" b="1">
              <a:solidFill>
                <a:schemeClr val="accent1"/>
              </a:solidFill>
            </a:endParaRPr>
          </a:p>
          <a:p>
            <a:pPr marL="0" indent="0">
              <a:buNone/>
            </a:pPr>
            <a:endParaRPr lang="en-GB">
              <a:solidFill>
                <a:srgbClr val="C75300"/>
              </a:solidFill>
            </a:endParaRPr>
          </a:p>
          <a:p>
            <a:pPr marL="238105" indent="-238105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DC40E74-50DB-4442-A7E6-9A8C70C341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/>
              <a:t>Where to find out more</a:t>
            </a:r>
            <a:br>
              <a:rPr lang="en-GB"/>
            </a:br>
            <a:endParaRPr lang="en-GB" u="sng"/>
          </a:p>
        </p:txBody>
      </p:sp>
      <p:pic>
        <p:nvPicPr>
          <p:cNvPr id="8" name="Picture 7" descr="A qr code on a white background&#10;&#10;AI-generated content may be incorrect.">
            <a:extLst>
              <a:ext uri="{FF2B5EF4-FFF2-40B4-BE49-F238E27FC236}">
                <a16:creationId xmlns:a16="http://schemas.microsoft.com/office/drawing/2014/main" id="{9AF24DB9-1562-CE32-457F-E33EFC028A2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5519" y="514615"/>
            <a:ext cx="2286000" cy="22860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69FEEDE-2710-7248-E659-09633B93852C}"/>
              </a:ext>
            </a:extLst>
          </p:cNvPr>
          <p:cNvSpPr txBox="1"/>
          <p:nvPr/>
        </p:nvSpPr>
        <p:spPr>
          <a:xfrm>
            <a:off x="8405520" y="2952017"/>
            <a:ext cx="2313624" cy="757130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algn="ctr" defTabSz="91436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2160">
                <a:solidFill>
                  <a:prstClr val="white"/>
                </a:solidFill>
                <a:latin typeface="Arial" panose="020B0604020202020204"/>
                <a:ea typeface="+mn-ea"/>
              </a:rPr>
              <a:t>CHEATING OR COMPETING</a:t>
            </a:r>
          </a:p>
        </p:txBody>
      </p:sp>
    </p:spTree>
    <p:extLst>
      <p:ext uri="{BB962C8B-B14F-4D97-AF65-F5344CB8AC3E}">
        <p14:creationId xmlns:p14="http://schemas.microsoft.com/office/powerpoint/2010/main" val="234484172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C40E74-50DB-4442-A7E6-9A8C70C341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367" y="257227"/>
            <a:ext cx="8424863" cy="792162"/>
          </a:xfrm>
        </p:spPr>
        <p:txBody>
          <a:bodyPr/>
          <a:lstStyle/>
          <a:p>
            <a:r>
              <a:rPr lang="en-GB" b="1">
                <a:solidFill>
                  <a:srgbClr val="00106E"/>
                </a:solidFill>
              </a:rPr>
              <a:t>How to report to us</a:t>
            </a:r>
            <a:br>
              <a:rPr lang="en-GB"/>
            </a:br>
            <a:endParaRPr lang="en-GB" u="sng">
              <a:solidFill>
                <a:srgbClr val="FF0000"/>
              </a:solidFill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4F3D615-43ED-2F4D-833E-4195F0E6FA0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367" y="1124744"/>
            <a:ext cx="4962978" cy="4065588"/>
          </a:xfrm>
        </p:spPr>
        <p:txBody>
          <a:bodyPr/>
          <a:lstStyle/>
          <a:p>
            <a:endParaRPr lang="en-GB"/>
          </a:p>
          <a:p>
            <a:pPr marL="0" indent="0">
              <a:buNone/>
            </a:pP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33F9BBC-23D1-7D08-B72E-CC88AA5F354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3543"/>
          <a:stretch>
            <a:fillRect/>
          </a:stretch>
        </p:blipFill>
        <p:spPr>
          <a:xfrm>
            <a:off x="5577128" y="2163531"/>
            <a:ext cx="7034532" cy="271531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5D08B0E-2841-3372-434F-14D9B7B56641}"/>
              </a:ext>
            </a:extLst>
          </p:cNvPr>
          <p:cNvSpPr txBox="1"/>
          <p:nvPr/>
        </p:nvSpPr>
        <p:spPr>
          <a:xfrm>
            <a:off x="6972002" y="5030898"/>
            <a:ext cx="4486217" cy="17083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63" eaLnBrk="1" fontAlgn="auto" hangingPunct="1">
              <a:spcBef>
                <a:spcPts val="0"/>
              </a:spcBef>
              <a:spcAft>
                <a:spcPts val="600"/>
              </a:spcAft>
            </a:pPr>
            <a:r>
              <a:rPr lang="en-US" sz="1667" b="1">
                <a:solidFill>
                  <a:srgbClr val="00106E"/>
                </a:solidFill>
                <a:latin typeface="Arial" panose="020B0604020202020204"/>
                <a:ea typeface="+mn-ea"/>
              </a:rPr>
              <a:t>Alternatively: </a:t>
            </a:r>
          </a:p>
          <a:p>
            <a:pPr marL="380985" indent="-380985" defTabSz="914363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67" b="1">
                <a:solidFill>
                  <a:srgbClr val="00106E"/>
                </a:solidFill>
                <a:latin typeface="Arial" panose="020B0604020202020204"/>
                <a:ea typeface="+mn-ea"/>
              </a:rPr>
              <a:t>report via our </a:t>
            </a:r>
            <a:r>
              <a:rPr lang="en-US" sz="1667" b="1">
                <a:solidFill>
                  <a:srgbClr val="00106E"/>
                </a:solidFill>
                <a:latin typeface="Arial" panose="020B0604020202020204"/>
                <a:ea typeface="+mn-ea"/>
                <a:hlinkClick r:id="rId4"/>
              </a:rPr>
              <a:t>online reporting</a:t>
            </a:r>
            <a:r>
              <a:rPr lang="en-US" sz="1667" b="1">
                <a:solidFill>
                  <a:srgbClr val="00106E"/>
                </a:solidFill>
                <a:latin typeface="Arial" panose="020B0604020202020204"/>
                <a:ea typeface="+mn-ea"/>
              </a:rPr>
              <a:t> form</a:t>
            </a:r>
          </a:p>
          <a:p>
            <a:pPr marL="380985" indent="-380985" defTabSz="914363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67" b="1">
                <a:solidFill>
                  <a:srgbClr val="00106E"/>
                </a:solidFill>
                <a:latin typeface="Arial" panose="020B0604020202020204"/>
                <a:ea typeface="+mn-ea"/>
              </a:rPr>
              <a:t>email: </a:t>
            </a:r>
            <a:r>
              <a:rPr lang="en-US" sz="1667" b="1" u="sng">
                <a:solidFill>
                  <a:srgbClr val="00106E"/>
                </a:solidFill>
                <a:latin typeface="Arial" panose="020B0604020202020204"/>
                <a:ea typeface="+mn-ea"/>
                <a:hlinkClick r:id="rId5"/>
              </a:rPr>
              <a:t>cartelshotline@cma.gov.uk</a:t>
            </a:r>
            <a:endParaRPr lang="en-US" sz="1667" b="1" u="sng">
              <a:solidFill>
                <a:srgbClr val="00106E"/>
              </a:solidFill>
              <a:latin typeface="Arial" panose="020B0604020202020204"/>
              <a:ea typeface="+mn-ea"/>
            </a:endParaRPr>
          </a:p>
          <a:p>
            <a:pPr defTabSz="914363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4000" b="1">
              <a:solidFill>
                <a:srgbClr val="042869"/>
              </a:solidFill>
              <a:latin typeface="Arial" panose="020B0604020202020204"/>
              <a:ea typeface="+mn-ea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BF4F3D9-7E2C-395A-DDB5-518CE2FA2F69}"/>
              </a:ext>
            </a:extLst>
          </p:cNvPr>
          <p:cNvSpPr txBox="1"/>
          <p:nvPr/>
        </p:nvSpPr>
        <p:spPr>
          <a:xfrm>
            <a:off x="637017" y="1037876"/>
            <a:ext cx="4812632" cy="8103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6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2333">
                <a:solidFill>
                  <a:srgbClr val="042869"/>
                </a:solidFill>
                <a:latin typeface="Arial" panose="020B0604020202020204"/>
                <a:ea typeface="+mn-ea"/>
              </a:rPr>
              <a:t>If your business has been involved…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CAA9EFC-84B3-E84F-44DD-3628DE22FAD3}"/>
              </a:ext>
            </a:extLst>
          </p:cNvPr>
          <p:cNvSpPr txBox="1"/>
          <p:nvPr/>
        </p:nvSpPr>
        <p:spPr>
          <a:xfrm>
            <a:off x="6972002" y="1082895"/>
            <a:ext cx="4812632" cy="8103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6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2333">
                <a:solidFill>
                  <a:srgbClr val="042869"/>
                </a:solidFill>
                <a:latin typeface="Arial" panose="020B0604020202020204"/>
                <a:ea typeface="+mn-ea"/>
              </a:rPr>
              <a:t>If you are not involved in a cartel but know about one…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3783863-84B3-9667-68E6-BF660DE0E24F}"/>
              </a:ext>
            </a:extLst>
          </p:cNvPr>
          <p:cNvSpPr txBox="1"/>
          <p:nvPr/>
        </p:nvSpPr>
        <p:spPr>
          <a:xfrm>
            <a:off x="733782" y="4322371"/>
            <a:ext cx="4812632" cy="1990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182" lvl="1" defTabSz="914363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3333">
              <a:solidFill>
                <a:srgbClr val="042869"/>
              </a:solidFill>
              <a:latin typeface="Arial" panose="020B0604020202020204"/>
              <a:ea typeface="+mn-ea"/>
              <a:cs typeface="Cavolini" panose="020B0502040204020203" pitchFamily="66" charset="0"/>
            </a:endParaRPr>
          </a:p>
          <a:p>
            <a:pPr defTabSz="914363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800" b="1">
              <a:solidFill>
                <a:srgbClr val="042869"/>
              </a:solidFill>
              <a:latin typeface="Arial" panose="020B0604020202020204"/>
              <a:ea typeface="+mn-ea"/>
            </a:endParaRPr>
          </a:p>
          <a:p>
            <a:pPr marL="285739" indent="-285739" defTabSz="914363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800" b="1">
                <a:solidFill>
                  <a:srgbClr val="042869"/>
                </a:solidFill>
                <a:latin typeface="Arial" panose="020B0604020202020204"/>
                <a:ea typeface="+mn-ea"/>
              </a:rPr>
              <a:t>Read our </a:t>
            </a:r>
            <a:r>
              <a:rPr lang="en-GB" sz="1800" b="1">
                <a:solidFill>
                  <a:srgbClr val="042869"/>
                </a:solidFill>
                <a:latin typeface="Arial" panose="020B0604020202020204"/>
                <a:ea typeface="+mn-ea"/>
                <a:hlinkClick r:id="rId6"/>
              </a:rPr>
              <a:t>leniency guidance online</a:t>
            </a:r>
            <a:endParaRPr lang="en-GB" sz="1800" b="1">
              <a:solidFill>
                <a:srgbClr val="042869"/>
              </a:solidFill>
              <a:latin typeface="Arial" panose="020B0604020202020204"/>
              <a:ea typeface="+mn-ea"/>
            </a:endParaRPr>
          </a:p>
          <a:p>
            <a:pPr marL="285739" indent="-285739" defTabSz="914363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800" b="1">
                <a:solidFill>
                  <a:srgbClr val="042869"/>
                </a:solidFill>
                <a:latin typeface="Arial" panose="020B0604020202020204"/>
                <a:ea typeface="+mn-ea"/>
              </a:rPr>
              <a:t>Leniency enquiry line: 020 3738 6833 </a:t>
            </a:r>
          </a:p>
          <a:p>
            <a:pPr defTabSz="914363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800" b="1">
              <a:solidFill>
                <a:srgbClr val="042869"/>
              </a:solidFill>
              <a:highlight>
                <a:srgbClr val="FFFF00"/>
              </a:highlight>
              <a:latin typeface="Arial" panose="020B0604020202020204"/>
              <a:ea typeface="+mn-ea"/>
            </a:endParaRPr>
          </a:p>
          <a:p>
            <a:pPr defTabSz="914363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800">
              <a:solidFill>
                <a:srgbClr val="042869"/>
              </a:solidFill>
              <a:latin typeface="Arial" panose="020B0604020202020204"/>
              <a:ea typeface="+mn-ea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E2B414C-E2A8-9C61-8EC2-047572FC17F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7018" y="1979154"/>
            <a:ext cx="4636563" cy="2899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785925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7566902-F85C-5883-2181-7F75E6F70A9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994" y="2970878"/>
            <a:ext cx="6764047" cy="719689"/>
          </a:xfrm>
        </p:spPr>
        <p:txBody>
          <a:bodyPr>
            <a:noAutofit/>
          </a:bodyPr>
          <a:lstStyle/>
          <a:p>
            <a:r>
              <a:rPr lang="en-GB" sz="4800"/>
              <a:t>Questions</a:t>
            </a:r>
          </a:p>
        </p:txBody>
      </p:sp>
    </p:spTree>
    <p:extLst>
      <p:ext uri="{BB962C8B-B14F-4D97-AF65-F5344CB8AC3E}">
        <p14:creationId xmlns:p14="http://schemas.microsoft.com/office/powerpoint/2010/main" val="315355538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1251890-A9D7-2880-3C03-B75FC254DB2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sz="4000"/>
              <a:t>Thank you for joining u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E3A91CD-E318-30F3-21C6-86FC8EE3124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152354" y="2017643"/>
            <a:ext cx="5750251" cy="2828764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tx2"/>
                </a:solidFill>
                <a:latin typeface="Arial"/>
                <a:ea typeface="ＭＳ Ｐゴシック"/>
                <a:cs typeface="Arial"/>
              </a:rPr>
              <a:t>Follow us on LinkedIn: </a:t>
            </a:r>
            <a:br>
              <a:rPr lang="en-GB"/>
            </a:br>
            <a:r>
              <a:rPr lang="en-GB" b="1">
                <a:solidFill>
                  <a:schemeClr val="tx2"/>
                </a:solidFill>
                <a:latin typeface="Arial"/>
                <a:ea typeface="ＭＳ Ｐゴシック"/>
                <a:cs typeface="Arial"/>
              </a:rPr>
              <a:t>the-home-builders-federation</a:t>
            </a:r>
            <a:endParaRPr lang="en-GB" sz="300" b="1">
              <a:solidFill>
                <a:schemeClr val="tx2"/>
              </a:solidFill>
              <a:cs typeface="Arial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tx2"/>
                </a:solidFill>
                <a:latin typeface="Arial"/>
                <a:ea typeface="ＭＳ Ｐゴシック"/>
                <a:cs typeface="Arial"/>
              </a:rPr>
              <a:t>And X: </a:t>
            </a:r>
            <a:r>
              <a:rPr lang="en-GB" b="1">
                <a:solidFill>
                  <a:schemeClr val="tx2"/>
                </a:solidFill>
                <a:latin typeface="Arial"/>
                <a:ea typeface="ＭＳ Ｐゴシック"/>
                <a:cs typeface="Arial"/>
              </a:rPr>
              <a:t>@HomeBuildersFed</a:t>
            </a:r>
            <a:endParaRPr lang="en-GB" sz="300" b="1">
              <a:solidFill>
                <a:schemeClr val="tx2"/>
              </a:solidFill>
              <a:cs typeface="Arial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tx2"/>
                </a:solidFill>
                <a:latin typeface="Arial"/>
                <a:ea typeface="ＭＳ Ｐゴシック"/>
                <a:cs typeface="Arial"/>
              </a:rPr>
              <a:t>Feedback on today’s session and recommendations for future sessions: </a:t>
            </a:r>
            <a:r>
              <a:rPr lang="en-GB">
                <a:solidFill>
                  <a:schemeClr val="accent1"/>
                </a:solidFill>
                <a:latin typeface="Arial"/>
                <a:ea typeface="ＭＳ Ｐゴシック"/>
                <a:cs typeface="Arial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mms@hbf.co.uk</a:t>
            </a:r>
            <a:endParaRPr lang="en-GB">
              <a:solidFill>
                <a:schemeClr val="accent1"/>
              </a:solidFill>
              <a:latin typeface="Arial"/>
              <a:ea typeface="ＭＳ Ｐゴシック"/>
              <a:cs typeface="Arial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tx2"/>
                </a:solidFill>
                <a:latin typeface="Arial"/>
                <a:ea typeface="ＭＳ Ｐゴシック"/>
                <a:cs typeface="Arial"/>
              </a:rPr>
              <a:t>Scan the QR code to view future events </a:t>
            </a:r>
            <a:endParaRPr lang="en-GB">
              <a:solidFill>
                <a:schemeClr val="tx2"/>
              </a:solidFill>
              <a:cs typeface="Arial"/>
            </a:endParaRPr>
          </a:p>
          <a:p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A0FF156-6051-8A12-7445-80024F939FB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2605" y="-671939"/>
            <a:ext cx="484860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56740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29189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728A94-9B66-00F9-F3A7-3CC7603E13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FD0E0B2-50EA-BA54-B929-6A4A0093ACA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2204" t="25572" r="28158" b="161"/>
          <a:stretch>
            <a:fillRect/>
          </a:stretch>
        </p:blipFill>
        <p:spPr>
          <a:xfrm>
            <a:off x="5920720" y="1166756"/>
            <a:ext cx="5839121" cy="4524487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BCD6F0DC-8494-B885-2879-6CC2029F56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0909" y="1466146"/>
            <a:ext cx="4922923" cy="541204"/>
          </a:xfrm>
        </p:spPr>
        <p:txBody>
          <a:bodyPr/>
          <a:lstStyle/>
          <a:p>
            <a:r>
              <a:rPr lang="en-GB"/>
              <a:t>Housekeeping slides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CD1B82-5426-865A-A598-D8203C68CD2F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50909" y="2122132"/>
            <a:ext cx="4922923" cy="34511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>
                <a:latin typeface="Times New Roman" panose="02020603050405020304" pitchFamily="18" charset="0"/>
                <a:cs typeface="Times New Roman" panose="02020603050405020304" pitchFamily="18" charset="0"/>
              </a:rPr>
              <a:t>One hour and a half session, with time at the end for Q&amp;A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>
                <a:latin typeface="Times New Roman" panose="02020603050405020304" pitchFamily="18" charset="0"/>
                <a:cs typeface="Times New Roman" panose="02020603050405020304" pitchFamily="18" charset="0"/>
              </a:rPr>
              <a:t>Feel free to pose questions throughout the session via the Q&amp;A function, instead of cha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>
                <a:latin typeface="Times New Roman" panose="02020603050405020304" pitchFamily="18" charset="0"/>
                <a:cs typeface="Times New Roman" panose="02020603050405020304" pitchFamily="18" charset="0"/>
              </a:rPr>
              <a:t>A recording of the session will be circulated and made available on the HBF website.</a:t>
            </a: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A7703522-A749-0109-D0D5-5928E023840A}"/>
              </a:ext>
            </a:extLst>
          </p:cNvPr>
          <p:cNvSpPr/>
          <p:nvPr/>
        </p:nvSpPr>
        <p:spPr>
          <a:xfrm rot="2617530">
            <a:off x="9345169" y="4828031"/>
            <a:ext cx="996696" cy="36576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12517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732488F-E5C2-3CBD-5EA9-4F9B210CB971}"/>
              </a:ext>
            </a:extLst>
          </p:cNvPr>
          <p:cNvSpPr txBox="1"/>
          <p:nvPr/>
        </p:nvSpPr>
        <p:spPr>
          <a:xfrm>
            <a:off x="803412" y="4632438"/>
            <a:ext cx="10585176" cy="175432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3600" b="1" dirty="0">
                <a:solidFill>
                  <a:schemeClr val="bg1"/>
                </a:solidFill>
                <a:latin typeface="Arial"/>
                <a:ea typeface="ＭＳ Ｐゴシック"/>
                <a:cs typeface="Arial"/>
              </a:rPr>
              <a:t>Sarah Cawthorne</a:t>
            </a:r>
          </a:p>
          <a:p>
            <a:r>
              <a:rPr lang="en-US" sz="3600" kern="0" dirty="0">
                <a:solidFill>
                  <a:schemeClr val="bg1"/>
                </a:solidFill>
              </a:rPr>
              <a:t>Assistant Director, Competition Enforcement</a:t>
            </a:r>
            <a:endParaRPr lang="en-GB" sz="3600" dirty="0">
              <a:solidFill>
                <a:schemeClr val="bg1"/>
              </a:solidFill>
              <a:latin typeface="Arial"/>
              <a:ea typeface="ＭＳ Ｐゴシック"/>
              <a:cs typeface="Arial"/>
            </a:endParaRPr>
          </a:p>
          <a:p>
            <a:r>
              <a:rPr lang="en-GB" sz="3600" dirty="0">
                <a:solidFill>
                  <a:schemeClr val="bg1"/>
                </a:solidFill>
                <a:latin typeface="Arial"/>
                <a:ea typeface="ＭＳ Ｐゴシック"/>
                <a:cs typeface="Arial"/>
              </a:rPr>
              <a:t>Competition and Markets Authority</a:t>
            </a:r>
          </a:p>
        </p:txBody>
      </p:sp>
      <p:pic>
        <p:nvPicPr>
          <p:cNvPr id="3" name="Picture 2" descr="A black background with a red sign&#10;&#10;AI-generated content may be incorrect.">
            <a:extLst>
              <a:ext uri="{FF2B5EF4-FFF2-40B4-BE49-F238E27FC236}">
                <a16:creationId xmlns:a16="http://schemas.microsoft.com/office/drawing/2014/main" id="{3AFA4938-D4CC-E1E5-CA15-1FADB25DC45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054"/>
          <a:stretch/>
        </p:blipFill>
        <p:spPr>
          <a:xfrm>
            <a:off x="374381" y="457591"/>
            <a:ext cx="1731821" cy="362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173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5" name="Rectangle 7"/>
          <p:cNvSpPr>
            <a:spLocks noGrp="1" noChangeArrowheads="1"/>
          </p:cNvSpPr>
          <p:nvPr>
            <p:ph type="ctrTitle"/>
          </p:nvPr>
        </p:nvSpPr>
        <p:spPr>
          <a:xfrm>
            <a:off x="1418167" y="592668"/>
            <a:ext cx="10532443" cy="2209595"/>
          </a:xfrm>
        </p:spPr>
        <p:txBody>
          <a:bodyPr>
            <a:normAutofit fontScale="90000"/>
          </a:bodyPr>
          <a:lstStyle/>
          <a:p>
            <a:r>
              <a:rPr lang="en-US" sz="4800"/>
              <a:t>Complying with competition law: </a:t>
            </a:r>
            <a:br>
              <a:rPr lang="en-US" sz="4800"/>
            </a:br>
            <a:r>
              <a:rPr lang="en-US" sz="4800"/>
              <a:t>what you need to know about </a:t>
            </a:r>
            <a:br>
              <a:rPr lang="en-US" sz="4800"/>
            </a:br>
            <a:r>
              <a:rPr lang="en-US" sz="4800"/>
              <a:t>bid-rigging &amp; information exchange</a:t>
            </a:r>
            <a:br>
              <a:rPr lang="en-US" sz="4800"/>
            </a:br>
            <a:endParaRPr lang="en-US" sz="4800"/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F6106FA0-E81F-402F-99C1-2FD7CDA8EDA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28444" y="3041798"/>
            <a:ext cx="8189845" cy="15812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20000"/>
              </a:spcAft>
              <a:buClr>
                <a:schemeClr val="bg2"/>
              </a:buClr>
              <a:buSzPct val="115000"/>
              <a:buFont typeface="Univers" pitchFamily="34" charset="0"/>
              <a:buNone/>
              <a:defRPr sz="3200" b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92175" indent="-354013" algn="l" rtl="0" eaLnBrk="1" fontAlgn="base" hangingPunct="1">
              <a:spcBef>
                <a:spcPct val="20000"/>
              </a:spcBef>
              <a:spcAft>
                <a:spcPct val="20000"/>
              </a:spcAft>
              <a:buSzPct val="200000"/>
              <a:buFont typeface="Univers" pitchFamily="34" charset="0"/>
              <a:buChar char="-"/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438275" indent="-366713" algn="l" rtl="0" eaLnBrk="1" fontAlgn="base" hangingPunct="1">
              <a:spcBef>
                <a:spcPct val="20000"/>
              </a:spcBef>
              <a:spcAft>
                <a:spcPct val="2000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20716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47967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93687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339407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85127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430847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endParaRPr lang="en-US" sz="2000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60157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3B858B7-1A7E-D67C-7218-67C0B538503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142869" indent="-142869">
              <a:buFont typeface="Arial" panose="020B0604020202020204" pitchFamily="34" charset="0"/>
              <a:buChar char="•"/>
            </a:pPr>
            <a:endParaRPr lang="en-GB" sz="1667" dirty="0"/>
          </a:p>
          <a:p>
            <a:endParaRPr lang="en-GB" sz="1667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6C165E-9801-3FD2-6081-464F8AE7AA4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How we investigat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1F1234D-F4A2-8E58-7F08-682211B3EB1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7E63494-DAAC-E660-CBFD-592448863C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142869" indent="-142869">
              <a:buFont typeface="Arial" panose="020B0604020202020204" pitchFamily="34" charset="0"/>
              <a:buChar char="•"/>
            </a:pPr>
            <a:r>
              <a:rPr lang="en-GB" sz="1667" b="1" dirty="0"/>
              <a:t>Who</a:t>
            </a:r>
            <a:r>
              <a:rPr lang="en-GB" sz="1667" dirty="0"/>
              <a:t> the CMA is</a:t>
            </a:r>
          </a:p>
          <a:p>
            <a:pPr marL="142869" indent="-142869">
              <a:buFont typeface="Arial" panose="020B0604020202020204" pitchFamily="34" charset="0"/>
              <a:buChar char="•"/>
            </a:pPr>
            <a:r>
              <a:rPr lang="en-GB" sz="1667" dirty="0"/>
              <a:t>What </a:t>
            </a:r>
            <a:r>
              <a:rPr lang="en-GB" sz="1667" b="1" dirty="0"/>
              <a:t>competition law </a:t>
            </a:r>
            <a:r>
              <a:rPr lang="en-GB" sz="1667" dirty="0"/>
              <a:t>i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A5D1A21-18F0-27B2-4FFF-A9D240567EB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Background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54A035D-92C6-D59A-BB23-03702EABE0A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058AEE4-17BD-FB8A-2E8B-65F279C3C38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31902" y="3569070"/>
            <a:ext cx="3275993" cy="1129931"/>
          </a:xfrm>
        </p:spPr>
        <p:txBody>
          <a:bodyPr/>
          <a:lstStyle/>
          <a:p>
            <a:pPr marL="285739" indent="-285739">
              <a:buFont typeface="Arial" panose="020B0604020202020204" pitchFamily="34" charset="0"/>
              <a:buChar char="•"/>
            </a:pPr>
            <a:r>
              <a:rPr lang="en-GB"/>
              <a:t>Where to find out more</a:t>
            </a:r>
          </a:p>
          <a:p>
            <a:pPr marL="285739" indent="-285739">
              <a:buFont typeface="Arial" panose="020B0604020202020204" pitchFamily="34" charset="0"/>
              <a:buChar char="•"/>
            </a:pPr>
            <a:r>
              <a:rPr lang="en-GB"/>
              <a:t>How to report</a:t>
            </a:r>
          </a:p>
          <a:p>
            <a:pPr marL="285739" indent="-285739">
              <a:buFont typeface="Arial" panose="020B0604020202020204" pitchFamily="34" charset="0"/>
              <a:buChar char="•"/>
            </a:pPr>
            <a:r>
              <a:rPr lang="en-GB"/>
              <a:t>Q&amp;A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C282FBF-0E74-D17B-CB2F-28A308F546A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03519B0-B91C-F625-5CDE-F0CFABBC0BC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pPr marL="142869" indent="-142869">
              <a:buFont typeface="Arial" panose="020B0604020202020204" pitchFamily="34" charset="0"/>
              <a:buChar char="•"/>
            </a:pPr>
            <a:r>
              <a:rPr lang="en-GB" sz="1667" b="1" dirty="0"/>
              <a:t>When </a:t>
            </a:r>
            <a:r>
              <a:rPr lang="en-GB" sz="1667" dirty="0"/>
              <a:t>information exchange is problematic</a:t>
            </a:r>
            <a:endParaRPr lang="en-GB" sz="1667" b="1" dirty="0"/>
          </a:p>
          <a:p>
            <a:pPr marL="142869" indent="-142869">
              <a:buFont typeface="Arial" panose="020B0604020202020204" pitchFamily="34" charset="0"/>
              <a:buChar char="•"/>
            </a:pPr>
            <a:r>
              <a:rPr lang="en-GB" sz="1667" b="1" dirty="0"/>
              <a:t>Real-life examples</a:t>
            </a:r>
          </a:p>
          <a:p>
            <a:pPr marL="142869" indent="-142869">
              <a:buFont typeface="Arial" panose="020B0604020202020204" pitchFamily="34" charset="0"/>
              <a:buChar char="•"/>
            </a:pPr>
            <a:r>
              <a:rPr lang="en-GB" sz="1667" b="1" dirty="0"/>
              <a:t>How </a:t>
            </a:r>
            <a:r>
              <a:rPr lang="en-GB" sz="1667" dirty="0"/>
              <a:t>to comply 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970D274-18DE-C35A-9F72-15E86E28DDB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969459" y="3569070"/>
            <a:ext cx="2770890" cy="375708"/>
          </a:xfrm>
        </p:spPr>
        <p:txBody>
          <a:bodyPr/>
          <a:lstStyle/>
          <a:p>
            <a:r>
              <a:rPr lang="en-GB"/>
              <a:t>Information exchang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CA038A8-030A-7AA0-6220-32BFA7B99FB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51EB1B8-679B-DC1E-5326-61EB57BE15B5}"/>
              </a:ext>
            </a:extLst>
          </p:cNvPr>
          <p:cNvSpPr txBox="1">
            <a:spLocks/>
          </p:cNvSpPr>
          <p:nvPr/>
        </p:nvSpPr>
        <p:spPr>
          <a:xfrm>
            <a:off x="8131902" y="1655567"/>
            <a:ext cx="3294063" cy="613833"/>
          </a:xfrm>
          <a:prstGeom prst="rect">
            <a:avLst/>
          </a:prstGeom>
        </p:spPr>
        <p:txBody>
          <a:bodyPr/>
          <a:lstStyle>
            <a:lvl1pPr marL="0" indent="0" algn="l" defTabSz="1097236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097236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3352" indent="-213352" algn="l" defTabSz="1097236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24799" indent="-211447" algn="l" defTabSz="1097236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2759" indent="-266689" algn="l" defTabSz="1097236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en-GB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1097236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352" indent="-213352" algn="l" defTabSz="1097236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4799" indent="-211447" algn="l" defTabSz="1097236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097236" rtl="0" eaLnBrk="1" latinLnBrk="0" hangingPunct="1">
              <a:lnSpc>
                <a:spcPct val="100000"/>
              </a:lnSpc>
              <a:spcBef>
                <a:spcPts val="216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2869" indent="-142869" defTabSz="914327" fontAlgn="auto"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667" b="1" dirty="0">
                <a:solidFill>
                  <a:srgbClr val="042869"/>
                </a:solidFill>
                <a:latin typeface="Arial" panose="020B0604020202020204"/>
              </a:rPr>
              <a:t>How </a:t>
            </a:r>
            <a:r>
              <a:rPr lang="en-GB" sz="1667" dirty="0">
                <a:solidFill>
                  <a:srgbClr val="042869"/>
                </a:solidFill>
                <a:latin typeface="Arial" panose="020B0604020202020204"/>
              </a:rPr>
              <a:t>we open investigations</a:t>
            </a:r>
            <a:endParaRPr lang="en-GB" sz="1667" b="1" dirty="0">
              <a:solidFill>
                <a:srgbClr val="042869"/>
              </a:solidFill>
              <a:latin typeface="Arial" panose="020B0604020202020204"/>
            </a:endParaRPr>
          </a:p>
          <a:p>
            <a:pPr marL="142869" indent="-142869" defTabSz="914327" fontAlgn="auto"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667" dirty="0">
                <a:solidFill>
                  <a:srgbClr val="042869"/>
                </a:solidFill>
                <a:latin typeface="Arial" panose="020B0604020202020204"/>
              </a:rPr>
              <a:t>Our </a:t>
            </a:r>
            <a:r>
              <a:rPr lang="en-GB" sz="1667" b="1" dirty="0">
                <a:solidFill>
                  <a:srgbClr val="042869"/>
                </a:solidFill>
                <a:latin typeface="Arial" panose="020B0604020202020204"/>
              </a:rPr>
              <a:t>powers</a:t>
            </a:r>
            <a:r>
              <a:rPr lang="en-GB" sz="1667" dirty="0">
                <a:solidFill>
                  <a:srgbClr val="042869"/>
                </a:solidFill>
                <a:latin typeface="Arial" panose="020B0604020202020204"/>
              </a:rPr>
              <a:t> of investigation</a:t>
            </a:r>
          </a:p>
          <a:p>
            <a:pPr marL="142869" indent="-142869" defTabSz="914327" fontAlgn="auto"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GB" sz="1667" dirty="0">
              <a:solidFill>
                <a:srgbClr val="042869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7118262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 descr="Hands on track">
            <a:extLst>
              <a:ext uri="{FF2B5EF4-FFF2-40B4-BE49-F238E27FC236}">
                <a16:creationId xmlns:a16="http://schemas.microsoft.com/office/drawing/2014/main" id="{1944452C-4B9D-6D5C-524B-879991BDAAF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26" r="22126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47F7CFB-001F-5ECE-AAE8-9C14DC1C43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Background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6F43EA4-D398-4B5A-5D27-27091107CA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1.</a:t>
            </a:r>
          </a:p>
        </p:txBody>
      </p:sp>
    </p:spTree>
    <p:extLst>
      <p:ext uri="{BB962C8B-B14F-4D97-AF65-F5344CB8AC3E}">
        <p14:creationId xmlns:p14="http://schemas.microsoft.com/office/powerpoint/2010/main" val="15051918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D12343-BC5F-BD19-C243-EAB004EAFA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000" y="669453"/>
            <a:ext cx="11400896" cy="864810"/>
          </a:xfrm>
        </p:spPr>
        <p:txBody>
          <a:bodyPr/>
          <a:lstStyle/>
          <a:p>
            <a:r>
              <a:rPr lang="en-GB" b="1"/>
              <a:t>Understanding the CM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EE4090C-8430-A413-E4DD-CB023C4777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2854" y="2908546"/>
            <a:ext cx="2042714" cy="642414"/>
          </a:xfrm>
        </p:spPr>
        <p:txBody>
          <a:bodyPr/>
          <a:lstStyle/>
          <a:p>
            <a:r>
              <a:rPr lang="en-GB"/>
              <a:t>Wha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C56B3A-AAAC-B95F-ED6E-EB2B9CFEBAB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520075" y="2712589"/>
            <a:ext cx="2286137" cy="832463"/>
          </a:xfrm>
        </p:spPr>
        <p:txBody>
          <a:bodyPr/>
          <a:lstStyle/>
          <a:p>
            <a:r>
              <a:rPr lang="en-GB"/>
              <a:t>Who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1FF2035-B57C-5278-B6F0-C7054E254F1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96084" y="2765267"/>
            <a:ext cx="1627938" cy="832463"/>
          </a:xfrm>
        </p:spPr>
        <p:txBody>
          <a:bodyPr/>
          <a:lstStyle/>
          <a:p>
            <a:r>
              <a:rPr lang="en-GB"/>
              <a:t>Why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B31D3DD-7828-0DAE-BB09-0D2A7508EF2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570588" y="2793614"/>
            <a:ext cx="1536390" cy="832463"/>
          </a:xfrm>
        </p:spPr>
        <p:txBody>
          <a:bodyPr/>
          <a:lstStyle/>
          <a:p>
            <a:r>
              <a:rPr lang="en-GB"/>
              <a:t>How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C64E9A6-5111-F932-24DD-445BED08B61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6999" y="5242715"/>
            <a:ext cx="2428568" cy="786848"/>
          </a:xfrm>
        </p:spPr>
        <p:txBody>
          <a:bodyPr/>
          <a:lstStyle/>
          <a:p>
            <a:r>
              <a:rPr lang="en-GB" sz="1500"/>
              <a:t>Independent, non-ministerial department sponsored by Department for Business and Trade</a:t>
            </a:r>
            <a:endParaRPr lang="en-US" sz="1500"/>
          </a:p>
          <a:p>
            <a:endParaRPr lang="en-GB" sz="150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B22C0A7-E4B5-9F67-84F8-B20471235A4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12303" y="5199477"/>
            <a:ext cx="2215768" cy="786848"/>
          </a:xfrm>
        </p:spPr>
        <p:txBody>
          <a:bodyPr/>
          <a:lstStyle/>
          <a:p>
            <a:r>
              <a:rPr lang="en-GB" sz="1500" dirty="0"/>
              <a:t>Offices in Belfast, Cardiff, Darlington, Edinburgh, London and Manchester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834B575-8CB7-F836-7344-4900CD92680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656397" y="5171853"/>
            <a:ext cx="2035719" cy="786848"/>
          </a:xfrm>
        </p:spPr>
        <p:txBody>
          <a:bodyPr/>
          <a:lstStyle/>
          <a:p>
            <a:r>
              <a:rPr lang="en-GB" sz="1500"/>
              <a:t>Clear end goal: driving economic growth and improving household prosperity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099D91C-E11B-EE5A-9D5A-193DA7406D6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21427" y="5199477"/>
            <a:ext cx="2766057" cy="786848"/>
          </a:xfrm>
        </p:spPr>
        <p:txBody>
          <a:bodyPr/>
          <a:lstStyle/>
          <a:p>
            <a:pPr marL="142869" indent="-142869">
              <a:spcBef>
                <a:spcPts val="0"/>
              </a:spcBef>
              <a:buFontTx/>
              <a:buChar char="-"/>
            </a:pPr>
            <a:r>
              <a:rPr lang="en-GB" sz="1500"/>
              <a:t>Tackle cartels</a:t>
            </a:r>
          </a:p>
          <a:p>
            <a:pPr marL="142869" indent="-142869">
              <a:spcBef>
                <a:spcPts val="0"/>
              </a:spcBef>
              <a:buFontTx/>
              <a:buChar char="-"/>
            </a:pPr>
            <a:r>
              <a:rPr lang="en-GB" sz="1500"/>
              <a:t>Scrutinise mergers</a:t>
            </a:r>
          </a:p>
          <a:p>
            <a:pPr marL="142869" indent="-142869">
              <a:spcBef>
                <a:spcPts val="0"/>
              </a:spcBef>
              <a:buFontTx/>
              <a:buChar char="-"/>
            </a:pPr>
            <a:r>
              <a:rPr lang="en-GB" sz="1500"/>
              <a:t>Address unfair practices</a:t>
            </a:r>
          </a:p>
          <a:p>
            <a:pPr marL="142869" indent="-142869">
              <a:spcBef>
                <a:spcPts val="0"/>
              </a:spcBef>
              <a:buFontTx/>
              <a:buChar char="-"/>
            </a:pPr>
            <a:r>
              <a:rPr lang="en-GB" sz="1500"/>
              <a:t>Investigate markets with potential competition and consumer issues</a:t>
            </a:r>
          </a:p>
          <a:p>
            <a:pPr marL="142869" indent="-142869">
              <a:spcBef>
                <a:spcPts val="0"/>
              </a:spcBef>
              <a:buFontTx/>
              <a:buChar char="-"/>
            </a:pPr>
            <a:endParaRPr lang="en-GB" sz="1500"/>
          </a:p>
          <a:p>
            <a:pPr marL="142869" indent="-142869">
              <a:spcBef>
                <a:spcPts val="0"/>
              </a:spcBef>
              <a:buFontTx/>
              <a:buChar char="-"/>
            </a:pPr>
            <a:endParaRPr lang="en-GB" sz="15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DD3F961-A68B-8500-D51B-E308FE62D9A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99071" y="4436784"/>
            <a:ext cx="2042713" cy="735069"/>
          </a:xfrm>
        </p:spPr>
        <p:txBody>
          <a:bodyPr/>
          <a:lstStyle/>
          <a:p>
            <a:r>
              <a:rPr lang="en-GB" sz="1500"/>
              <a:t>UK’s primary competition and consumer law enforcement agency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A0D3CDD-87A4-DEBE-307C-8201E70892A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95435" y="4623020"/>
            <a:ext cx="2852503" cy="735068"/>
          </a:xfrm>
        </p:spPr>
        <p:txBody>
          <a:bodyPr/>
          <a:lstStyle/>
          <a:p>
            <a:r>
              <a:rPr lang="en-GB" sz="1500" dirty="0"/>
              <a:t>Formed out of the Office of Fair Trading and Competition Commission in 2014</a:t>
            </a:r>
            <a:endParaRPr lang="en-US" sz="1500" dirty="0"/>
          </a:p>
          <a:p>
            <a:endParaRPr lang="en-GB" sz="1500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68024065-68EF-A390-7146-1F8AA924392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385791" y="4356953"/>
            <a:ext cx="2215769" cy="842524"/>
          </a:xfrm>
        </p:spPr>
        <p:txBody>
          <a:bodyPr/>
          <a:lstStyle/>
          <a:p>
            <a:r>
              <a:rPr lang="en-GB" sz="1500"/>
              <a:t>Our purpose: promote competition and protect consumers</a:t>
            </a:r>
            <a:endParaRPr lang="en-US" sz="1500">
              <a:solidFill>
                <a:srgbClr val="002060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6245044-5B10-BE6C-2F8F-F2AC8C23A0E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570589" y="4628302"/>
            <a:ext cx="1706563" cy="313532"/>
          </a:xfrm>
        </p:spPr>
        <p:txBody>
          <a:bodyPr/>
          <a:lstStyle/>
          <a:p>
            <a:r>
              <a:rPr lang="en-GB" sz="1500"/>
              <a:t>Strong legal powers to:</a:t>
            </a:r>
          </a:p>
        </p:txBody>
      </p:sp>
    </p:spTree>
    <p:extLst>
      <p:ext uri="{BB962C8B-B14F-4D97-AF65-F5344CB8AC3E}">
        <p14:creationId xmlns:p14="http://schemas.microsoft.com/office/powerpoint/2010/main" val="12720624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CA23F7F-6810-BAA3-499D-325DA96B585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/>
              <a:t>Chapter I: anticompetitive agreeme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5CD4F93-CB51-AE5A-234F-3F64ABD8CF4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47227" y="2354015"/>
            <a:ext cx="5549222" cy="3574958"/>
          </a:xfrm>
        </p:spPr>
        <p:txBody>
          <a:bodyPr/>
          <a:lstStyle/>
          <a:p>
            <a:r>
              <a:rPr lang="en-GB" sz="1500" dirty="0"/>
              <a:t>Chapter II prohibits abuse of a dominant market position</a:t>
            </a:r>
          </a:p>
          <a:p>
            <a:r>
              <a:rPr lang="en-GB" sz="1500" dirty="0"/>
              <a:t>An abuse can be </a:t>
            </a:r>
            <a:r>
              <a:rPr lang="en-GB" sz="1500" b="1" dirty="0"/>
              <a:t>exclusionary</a:t>
            </a:r>
            <a:r>
              <a:rPr lang="en-GB" sz="1500" dirty="0"/>
              <a:t> (making it difficult for competitors to compete) or </a:t>
            </a:r>
            <a:r>
              <a:rPr lang="en-GB" sz="1500" b="1" dirty="0"/>
              <a:t>exploitative</a:t>
            </a:r>
            <a:r>
              <a:rPr lang="en-GB" sz="1500" dirty="0"/>
              <a:t> (taking advantage of customers not being able to switch to alternative suppliers)</a:t>
            </a:r>
          </a:p>
          <a:p>
            <a:r>
              <a:rPr lang="en-GB" sz="1500" dirty="0"/>
              <a:t>Examples of exclusionary abuse include:</a:t>
            </a:r>
          </a:p>
          <a:p>
            <a:pPr marL="619100" lvl="1" indent="-238115"/>
            <a:r>
              <a:rPr lang="en-GB" sz="1333" dirty="0"/>
              <a:t>Tying or bundling</a:t>
            </a:r>
          </a:p>
          <a:p>
            <a:pPr marL="619100" lvl="1" indent="-238115"/>
            <a:r>
              <a:rPr lang="en-GB" sz="1333" dirty="0"/>
              <a:t>Disadvantaging competitors / ‘self-preferencing’</a:t>
            </a:r>
          </a:p>
          <a:p>
            <a:pPr marL="619100" lvl="1" indent="-238115"/>
            <a:r>
              <a:rPr lang="en-GB" sz="1333" dirty="0"/>
              <a:t>Controlling important inputs</a:t>
            </a:r>
          </a:p>
          <a:p>
            <a:pPr marL="619100" lvl="1" indent="-238115"/>
            <a:r>
              <a:rPr lang="en-GB" sz="1333" dirty="0"/>
              <a:t>Requiring customer loyalty</a:t>
            </a:r>
          </a:p>
          <a:p>
            <a:pPr marL="619100" lvl="1" indent="-238115"/>
            <a:r>
              <a:rPr lang="en-GB" sz="1333" dirty="0"/>
              <a:t>Blocking or restricting entry by potential competitors</a:t>
            </a:r>
          </a:p>
          <a:p>
            <a:r>
              <a:rPr lang="en-GB" sz="1500" dirty="0"/>
              <a:t>Exploitative abuses can take the form of charging unjustifiably high prices or imposing unfair T&amp;Cs</a:t>
            </a:r>
          </a:p>
          <a:p>
            <a:pPr marL="380985" lvl="1" indent="0">
              <a:buNone/>
            </a:pPr>
            <a:endParaRPr lang="en-GB" sz="1500" dirty="0"/>
          </a:p>
          <a:p>
            <a:pPr lvl="1"/>
            <a:endParaRPr lang="en-GB" sz="1500" dirty="0"/>
          </a:p>
          <a:p>
            <a:pPr marL="0" indent="0">
              <a:buNone/>
            </a:pPr>
            <a:endParaRPr lang="en-GB" sz="5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E554E4D-5F0C-363D-BB9C-811F272B8F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5552" y="2354015"/>
            <a:ext cx="5549222" cy="3574958"/>
          </a:xfrm>
        </p:spPr>
        <p:txBody>
          <a:bodyPr/>
          <a:lstStyle/>
          <a:p>
            <a:r>
              <a:rPr lang="en-GB" sz="1500" dirty="0"/>
              <a:t>Chapter I prohibits agreements and concerted practices between businesses that prevent, restrict or distort competition</a:t>
            </a:r>
          </a:p>
          <a:p>
            <a:r>
              <a:rPr lang="en-GB" sz="1500" dirty="0"/>
              <a:t>Often involves business cartels</a:t>
            </a:r>
          </a:p>
          <a:p>
            <a:r>
              <a:rPr lang="en-GB" sz="1500" dirty="0"/>
              <a:t>Conduct we investigate includes:</a:t>
            </a:r>
          </a:p>
          <a:p>
            <a:pPr lvl="1"/>
            <a:r>
              <a:rPr lang="en-GB" sz="1333" dirty="0"/>
              <a:t>Bid rigging</a:t>
            </a:r>
          </a:p>
          <a:p>
            <a:pPr lvl="1"/>
            <a:r>
              <a:rPr lang="en-GB" sz="1333" dirty="0"/>
              <a:t>Price fixing</a:t>
            </a:r>
          </a:p>
          <a:p>
            <a:pPr lvl="1"/>
            <a:r>
              <a:rPr lang="en-GB" sz="1333" dirty="0"/>
              <a:t>Market sharing </a:t>
            </a:r>
          </a:p>
          <a:p>
            <a:pPr lvl="1"/>
            <a:r>
              <a:rPr lang="en-GB" sz="1333" dirty="0"/>
              <a:t>Output restrictions</a:t>
            </a:r>
          </a:p>
          <a:p>
            <a:pPr lvl="1"/>
            <a:r>
              <a:rPr lang="en-GB" sz="1333" b="1" i="1" dirty="0"/>
              <a:t>Exchange of competitively sensitive information</a:t>
            </a:r>
          </a:p>
          <a:p>
            <a:pPr lvl="1"/>
            <a:r>
              <a:rPr lang="en-GB" sz="1333" dirty="0"/>
              <a:t>Resale Price Maintenance</a:t>
            </a:r>
          </a:p>
          <a:p>
            <a:r>
              <a:rPr lang="en-GB" sz="1500" dirty="0"/>
              <a:t>Overlap with other types of fraud</a:t>
            </a:r>
          </a:p>
          <a:p>
            <a:r>
              <a:rPr lang="en-GB" sz="1500" dirty="0"/>
              <a:t>Includes informal agreements (</a:t>
            </a:r>
            <a:r>
              <a:rPr lang="en-GB" sz="1500" dirty="0" err="1"/>
              <a:t>eg</a:t>
            </a:r>
            <a:r>
              <a:rPr lang="en-GB" sz="1500" dirty="0"/>
              <a:t> ‘gentlemen’s agreements’)</a:t>
            </a:r>
            <a:endParaRPr lang="en-GB" sz="1333" dirty="0"/>
          </a:p>
          <a:p>
            <a:pPr lvl="1"/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8C86370-FD7A-E4A9-25EF-BB93DF035D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mpetition Act 1998:  </a:t>
            </a:r>
            <a:br>
              <a:rPr lang="en-GB" dirty="0"/>
            </a:br>
            <a:r>
              <a:rPr lang="en-GB" dirty="0"/>
              <a:t>competition law in a nutshel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EAF356F-154D-05AE-CF28-DFE0859D3D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Chapter II: abuse of a dominant market position </a:t>
            </a:r>
          </a:p>
        </p:txBody>
      </p:sp>
    </p:spTree>
    <p:extLst>
      <p:ext uri="{BB962C8B-B14F-4D97-AF65-F5344CB8AC3E}">
        <p14:creationId xmlns:p14="http://schemas.microsoft.com/office/powerpoint/2010/main" val="3699653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nd Slide">
  <a:themeElements>
    <a:clrScheme name="Custom 22">
      <a:dk1>
        <a:srgbClr val="000000"/>
      </a:dk1>
      <a:lt1>
        <a:srgbClr val="F9F3ED"/>
      </a:lt1>
      <a:dk2>
        <a:srgbClr val="000000"/>
      </a:dk2>
      <a:lt2>
        <a:srgbClr val="F9F3ED"/>
      </a:lt2>
      <a:accent1>
        <a:srgbClr val="C04500"/>
      </a:accent1>
      <a:accent2>
        <a:srgbClr val="FF884D"/>
      </a:accent2>
      <a:accent3>
        <a:srgbClr val="FFC7AB"/>
      </a:accent3>
      <a:accent4>
        <a:srgbClr val="FCEBA0"/>
      </a:accent4>
      <a:accent5>
        <a:srgbClr val="E3EF8F"/>
      </a:accent5>
      <a:accent6>
        <a:srgbClr val="CEEAE3"/>
      </a:accent6>
      <a:hlink>
        <a:srgbClr val="000000"/>
      </a:hlink>
      <a:folHlink>
        <a:srgbClr val="000000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Title">
  <a:themeElements>
    <a:clrScheme name="Custom 26">
      <a:dk1>
        <a:srgbClr val="000000"/>
      </a:dk1>
      <a:lt1>
        <a:srgbClr val="F9F3ED"/>
      </a:lt1>
      <a:dk2>
        <a:srgbClr val="000000"/>
      </a:dk2>
      <a:lt2>
        <a:srgbClr val="F9F3ED"/>
      </a:lt2>
      <a:accent1>
        <a:srgbClr val="C04500"/>
      </a:accent1>
      <a:accent2>
        <a:srgbClr val="FF884D"/>
      </a:accent2>
      <a:accent3>
        <a:srgbClr val="FFC7AB"/>
      </a:accent3>
      <a:accent4>
        <a:srgbClr val="FCEBA0"/>
      </a:accent4>
      <a:accent5>
        <a:srgbClr val="E3EF8F"/>
      </a:accent5>
      <a:accent6>
        <a:srgbClr val="CEEAE3"/>
      </a:accent6>
      <a:hlink>
        <a:srgbClr val="C04500"/>
      </a:hlink>
      <a:folHlink>
        <a:srgbClr val="000000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Content">
  <a:themeElements>
    <a:clrScheme name="HBF">
      <a:dk1>
        <a:srgbClr val="000000"/>
      </a:dk1>
      <a:lt1>
        <a:srgbClr val="F9F3ED"/>
      </a:lt1>
      <a:dk2>
        <a:srgbClr val="000000"/>
      </a:dk2>
      <a:lt2>
        <a:srgbClr val="F9F3ED"/>
      </a:lt2>
      <a:accent1>
        <a:srgbClr val="C04500"/>
      </a:accent1>
      <a:accent2>
        <a:srgbClr val="FF884D"/>
      </a:accent2>
      <a:accent3>
        <a:srgbClr val="FFC7AB"/>
      </a:accent3>
      <a:accent4>
        <a:srgbClr val="FCEBA0"/>
      </a:accent4>
      <a:accent5>
        <a:srgbClr val="E3EF8F"/>
      </a:accent5>
      <a:accent6>
        <a:srgbClr val="CEEAE3"/>
      </a:accent6>
      <a:hlink>
        <a:srgbClr val="000000"/>
      </a:hlink>
      <a:folHlink>
        <a:srgbClr val="000000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4.xml><?xml version="1.0" encoding="utf-8"?>
<a:theme xmlns:a="http://schemas.openxmlformats.org/drawingml/2006/main" name="Title page slides">
  <a:themeElements>
    <a:clrScheme name="CMA">
      <a:dk1>
        <a:srgbClr val="042869"/>
      </a:dk1>
      <a:lt1>
        <a:sysClr val="window" lastClr="FFFFFF"/>
      </a:lt1>
      <a:dk2>
        <a:srgbClr val="0368AF"/>
      </a:dk2>
      <a:lt2>
        <a:srgbClr val="DDD9D5"/>
      </a:lt2>
      <a:accent1>
        <a:srgbClr val="C75300"/>
      </a:accent1>
      <a:accent2>
        <a:srgbClr val="59307C"/>
      </a:accent2>
      <a:accent3>
        <a:srgbClr val="188188"/>
      </a:accent3>
      <a:accent4>
        <a:srgbClr val="81001E"/>
      </a:accent4>
      <a:accent5>
        <a:srgbClr val="FFC627"/>
      </a:accent5>
      <a:accent6>
        <a:srgbClr val="555559"/>
      </a:accent6>
      <a:hlink>
        <a:srgbClr val="0A2FB5"/>
      </a:hlink>
      <a:folHlink>
        <a:srgbClr val="4A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4" id="{67B97E2C-D79E-4E37-B49F-07C36F0B587B}" vid="{CF637342-C47B-428D-8809-77811371BE89}"/>
    </a:ext>
  </a:extLst>
</a:theme>
</file>

<file path=ppt/theme/theme5.xml><?xml version="1.0" encoding="utf-8"?>
<a:theme xmlns:a="http://schemas.openxmlformats.org/drawingml/2006/main" name="Agenda slides">
  <a:themeElements>
    <a:clrScheme name="CMA">
      <a:dk1>
        <a:srgbClr val="042869"/>
      </a:dk1>
      <a:lt1>
        <a:sysClr val="window" lastClr="FFFFFF"/>
      </a:lt1>
      <a:dk2>
        <a:srgbClr val="0368AF"/>
      </a:dk2>
      <a:lt2>
        <a:srgbClr val="DDD9D5"/>
      </a:lt2>
      <a:accent1>
        <a:srgbClr val="C75300"/>
      </a:accent1>
      <a:accent2>
        <a:srgbClr val="59307C"/>
      </a:accent2>
      <a:accent3>
        <a:srgbClr val="188188"/>
      </a:accent3>
      <a:accent4>
        <a:srgbClr val="81001E"/>
      </a:accent4>
      <a:accent5>
        <a:srgbClr val="FFC627"/>
      </a:accent5>
      <a:accent6>
        <a:srgbClr val="555559"/>
      </a:accent6>
      <a:hlink>
        <a:srgbClr val="0A2FB5"/>
      </a:hlink>
      <a:folHlink>
        <a:srgbClr val="4A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ue">
      <a:srgbClr val="0A2FB5"/>
    </a:custClr>
    <a:custClr name="Mid Blue">
      <a:srgbClr val="2D53ED"/>
    </a:custClr>
    <a:custClr name="Light Blue">
      <a:srgbClr val="488CFF"/>
    </a:custClr>
    <a:custClr name="Pale Blue">
      <a:srgbClr val="BCDCFB"/>
    </a:custClr>
    <a:custClr name="Purple">
      <a:srgbClr val="4A0080"/>
    </a:custClr>
    <a:custClr name="Mid Purple">
      <a:srgbClr val="6500AD"/>
    </a:custClr>
    <a:custClr name="Light Purple">
      <a:srgbClr val="A167FF"/>
    </a:custClr>
    <a:custClr name="Pale Purple">
      <a:srgbClr val="DAB8FF"/>
    </a:custClr>
    <a:custClr name="Green">
      <a:srgbClr val="117C96"/>
    </a:custClr>
    <a:custClr name="Mid Green">
      <a:srgbClr val="00B2C7"/>
    </a:custClr>
    <a:custClr name="Light Green">
      <a:srgbClr val="21D8ED"/>
    </a:custClr>
    <a:custClr name="Pale Green">
      <a:srgbClr val="A6F5FF"/>
    </a:custClr>
    <a:custClr name="Burgundy">
      <a:srgbClr val="990C47"/>
    </a:custClr>
    <a:custClr name="Mid Burgundy">
      <a:srgbClr val="C7105C"/>
    </a:custClr>
    <a:custClr name="Light Burgundy">
      <a:srgbClr val="ED5A8F"/>
    </a:custClr>
    <a:custClr name="Pale Burgundy">
      <a:srgbClr val="FFD9E5"/>
    </a:custClr>
    <a:custClr name="White">
      <a:srgbClr val="FFFFFF"/>
    </a:custClr>
    <a:custClr name="Soft Grey">
      <a:srgbClr val="F2F2F2"/>
    </a:custClr>
    <a:custClr name="Pale Grey">
      <a:srgbClr val="DFDDDD"/>
    </a:custClr>
    <a:custClr name="Light Grey">
      <a:srgbClr val="959392"/>
    </a:custClr>
    <a:custClr name="Grey">
      <a:srgbClr val="585656"/>
    </a:custClr>
    <a:custClr name="Dark Grey">
      <a:srgbClr val="212121"/>
    </a:custClr>
    <a:custClr name="Black">
      <a:srgbClr val="000000"/>
    </a:custClr>
  </a:custClrLst>
  <a:extLst>
    <a:ext uri="{05A4C25C-085E-4340-85A3-A5531E510DB2}">
      <thm15:themeFamily xmlns:thm15="http://schemas.microsoft.com/office/thememl/2012/main" name="Presentation4" id="{67B97E2C-D79E-4E37-B49F-07C36F0B587B}" vid="{9390E255-FB35-4B3A-93EF-C331B0F12C1A}"/>
    </a:ext>
  </a:extLst>
</a:theme>
</file>

<file path=ppt/theme/theme6.xml><?xml version="1.0" encoding="utf-8"?>
<a:theme xmlns:a="http://schemas.openxmlformats.org/drawingml/2006/main" name="SWOT">
  <a:themeElements>
    <a:clrScheme name="CMA">
      <a:dk1>
        <a:srgbClr val="042869"/>
      </a:dk1>
      <a:lt1>
        <a:sysClr val="window" lastClr="FFFFFF"/>
      </a:lt1>
      <a:dk2>
        <a:srgbClr val="0368AF"/>
      </a:dk2>
      <a:lt2>
        <a:srgbClr val="DDD9D5"/>
      </a:lt2>
      <a:accent1>
        <a:srgbClr val="C75300"/>
      </a:accent1>
      <a:accent2>
        <a:srgbClr val="59307C"/>
      </a:accent2>
      <a:accent3>
        <a:srgbClr val="188188"/>
      </a:accent3>
      <a:accent4>
        <a:srgbClr val="81001E"/>
      </a:accent4>
      <a:accent5>
        <a:srgbClr val="FFC627"/>
      </a:accent5>
      <a:accent6>
        <a:srgbClr val="555559"/>
      </a:accent6>
      <a:hlink>
        <a:srgbClr val="0A2FB5"/>
      </a:hlink>
      <a:folHlink>
        <a:srgbClr val="4A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4" id="{67B97E2C-D79E-4E37-B49F-07C36F0B587B}" vid="{F7E74623-1726-4854-989D-DB9D4A60248B}"/>
    </a:ext>
  </a:extLst>
</a:theme>
</file>

<file path=ppt/theme/theme7.xml><?xml version="1.0" encoding="utf-8"?>
<a:theme xmlns:a="http://schemas.openxmlformats.org/drawingml/2006/main" name="Outcome slides">
  <a:themeElements>
    <a:clrScheme name="CMA">
      <a:dk1>
        <a:srgbClr val="042869"/>
      </a:dk1>
      <a:lt1>
        <a:sysClr val="window" lastClr="FFFFFF"/>
      </a:lt1>
      <a:dk2>
        <a:srgbClr val="0368AF"/>
      </a:dk2>
      <a:lt2>
        <a:srgbClr val="DDD9D5"/>
      </a:lt2>
      <a:accent1>
        <a:srgbClr val="C75300"/>
      </a:accent1>
      <a:accent2>
        <a:srgbClr val="59307C"/>
      </a:accent2>
      <a:accent3>
        <a:srgbClr val="188188"/>
      </a:accent3>
      <a:accent4>
        <a:srgbClr val="81001E"/>
      </a:accent4>
      <a:accent5>
        <a:srgbClr val="FFC627"/>
      </a:accent5>
      <a:accent6>
        <a:srgbClr val="555559"/>
      </a:accent6>
      <a:hlink>
        <a:srgbClr val="0A2FB5"/>
      </a:hlink>
      <a:folHlink>
        <a:srgbClr val="4A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4" id="{67B97E2C-D79E-4E37-B49F-07C36F0B587B}" vid="{CBCFAA4E-087C-44DE-BA61-8419478489A2}"/>
    </a:ext>
  </a:extLst>
</a:theme>
</file>

<file path=ppt/theme/theme8.xml><?xml version="1.0" encoding="utf-8"?>
<a:theme xmlns:a="http://schemas.openxmlformats.org/drawingml/2006/main" name="Picture slides">
  <a:themeElements>
    <a:clrScheme name="CMA">
      <a:dk1>
        <a:srgbClr val="042869"/>
      </a:dk1>
      <a:lt1>
        <a:sysClr val="window" lastClr="FFFFFF"/>
      </a:lt1>
      <a:dk2>
        <a:srgbClr val="0368AF"/>
      </a:dk2>
      <a:lt2>
        <a:srgbClr val="DDD9D5"/>
      </a:lt2>
      <a:accent1>
        <a:srgbClr val="C75300"/>
      </a:accent1>
      <a:accent2>
        <a:srgbClr val="59307C"/>
      </a:accent2>
      <a:accent3>
        <a:srgbClr val="188188"/>
      </a:accent3>
      <a:accent4>
        <a:srgbClr val="81001E"/>
      </a:accent4>
      <a:accent5>
        <a:srgbClr val="FFC627"/>
      </a:accent5>
      <a:accent6>
        <a:srgbClr val="555559"/>
      </a:accent6>
      <a:hlink>
        <a:srgbClr val="0A2FB5"/>
      </a:hlink>
      <a:folHlink>
        <a:srgbClr val="4A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4" id="{67B97E2C-D79E-4E37-B49F-07C36F0B587B}" vid="{DCE47F1D-0C20-459F-B61E-991E7FDDB34F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ACEACC4E1CDCF488D376413A381FD22" ma:contentTypeVersion="19" ma:contentTypeDescription="Create a new document." ma:contentTypeScope="" ma:versionID="a5c7bb56c8e65b4ad1421a23854a6e7a">
  <xsd:schema xmlns:xsd="http://www.w3.org/2001/XMLSchema" xmlns:xs="http://www.w3.org/2001/XMLSchema" xmlns:p="http://schemas.microsoft.com/office/2006/metadata/properties" xmlns:ns2="382e5495-6889-451e-8447-25219879d4f2" xmlns:ns3="98c4065d-ab90-4030-91ac-239e56608fbb" targetNamespace="http://schemas.microsoft.com/office/2006/metadata/properties" ma:root="true" ma:fieldsID="1a3be9b80c18f69632e21e3859a4f9d1" ns2:_="" ns3:_="">
    <xsd:import namespace="382e5495-6889-451e-8447-25219879d4f2"/>
    <xsd:import namespace="98c4065d-ab90-4030-91ac-239e56608fb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82e5495-6889-451e-8447-25219879d4f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5c48f749-fadf-4388-88e9-b8f5d78bb6b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c4065d-ab90-4030-91ac-239e56608fbb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2ad3b124-f129-47eb-af8a-2eceb59fbcab}" ma:internalName="TaxCatchAll" ma:showField="CatchAllData" ma:web="98c4065d-ab90-4030-91ac-239e56608fb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82e5495-6889-451e-8447-25219879d4f2">
      <Terms xmlns="http://schemas.microsoft.com/office/infopath/2007/PartnerControls"/>
    </lcf76f155ced4ddcb4097134ff3c332f>
    <TaxCatchAll xmlns="98c4065d-ab90-4030-91ac-239e56608fbb" xsi:nil="true"/>
  </documentManagement>
</p:properties>
</file>

<file path=customXml/itemProps1.xml><?xml version="1.0" encoding="utf-8"?>
<ds:datastoreItem xmlns:ds="http://schemas.openxmlformats.org/officeDocument/2006/customXml" ds:itemID="{8B225884-6B71-44E5-85F1-05F1FCEFA1D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CFC0D8A-0FF7-4948-ADCB-250EF9B10280}">
  <ds:schemaRefs>
    <ds:schemaRef ds:uri="382e5495-6889-451e-8447-25219879d4f2"/>
    <ds:schemaRef ds:uri="98c4065d-ab90-4030-91ac-239e56608fb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C38F58EE-158A-40F1-8AB2-3549AB7EAADA}">
  <ds:schemaRefs>
    <ds:schemaRef ds:uri="382e5495-6889-451e-8447-25219879d4f2"/>
    <ds:schemaRef ds:uri="98c4065d-ab90-4030-91ac-239e56608fb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HBF theme 2023</Template>
  <TotalTime>14</TotalTime>
  <Words>1402</Words>
  <Application>Microsoft Office PowerPoint</Application>
  <PresentationFormat>Widescreen</PresentationFormat>
  <Paragraphs>194</Paragraphs>
  <Slides>24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43" baseType="lpstr">
      <vt:lpstr>Aptos</vt:lpstr>
      <vt:lpstr>Arial</vt:lpstr>
      <vt:lpstr>Bagoss Standard</vt:lpstr>
      <vt:lpstr>Calibri</vt:lpstr>
      <vt:lpstr>Helvetica</vt:lpstr>
      <vt:lpstr>MetaSerifPro-Book</vt:lpstr>
      <vt:lpstr>Times New Roman</vt:lpstr>
      <vt:lpstr>Univers</vt:lpstr>
      <vt:lpstr>Verdana</vt:lpstr>
      <vt:lpstr>Wingdings</vt:lpstr>
      <vt:lpstr>End Slide</vt:lpstr>
      <vt:lpstr>Title</vt:lpstr>
      <vt:lpstr>Content</vt:lpstr>
      <vt:lpstr>Title page slides</vt:lpstr>
      <vt:lpstr>Agenda slides</vt:lpstr>
      <vt:lpstr>SWOT</vt:lpstr>
      <vt:lpstr>Outcome slides</vt:lpstr>
      <vt:lpstr>Picture slides</vt:lpstr>
      <vt:lpstr>think-cell Slide</vt:lpstr>
      <vt:lpstr>Competition Law for Housebuilders: What You Need to Know</vt:lpstr>
      <vt:lpstr>PowerPoint Presentation</vt:lpstr>
      <vt:lpstr>Housekeeping slides </vt:lpstr>
      <vt:lpstr>PowerPoint Presentation</vt:lpstr>
      <vt:lpstr>Complying with competition law:  what you need to know about  bid-rigging &amp; information exchange </vt:lpstr>
      <vt:lpstr>PowerPoint Presentation</vt:lpstr>
      <vt:lpstr>Background</vt:lpstr>
      <vt:lpstr>Understanding the CMA</vt:lpstr>
      <vt:lpstr>Competition Act 1998:   competition law in a nutshell</vt:lpstr>
      <vt:lpstr>Why this matters to you</vt:lpstr>
      <vt:lpstr>How we investigate</vt:lpstr>
      <vt:lpstr>Our investigations</vt:lpstr>
      <vt:lpstr>Powers of investigation</vt:lpstr>
      <vt:lpstr>Information Exchange </vt:lpstr>
      <vt:lpstr>Background to our investigation</vt:lpstr>
      <vt:lpstr>Information exchange: key principles</vt:lpstr>
      <vt:lpstr>Information exchange: key principles</vt:lpstr>
      <vt:lpstr>Key do’s and don’ts for housebuilders</vt:lpstr>
      <vt:lpstr>Find out more &amp; how to report</vt:lpstr>
      <vt:lpstr>Where to find out more </vt:lpstr>
      <vt:lpstr>How to report to us </vt:lpstr>
      <vt:lpstr>Questions</vt:lpstr>
      <vt:lpstr>Thank you for joining u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issa Morris</dc:creator>
  <cp:lastModifiedBy>Anissa Morris</cp:lastModifiedBy>
  <cp:revision>2</cp:revision>
  <dcterms:created xsi:type="dcterms:W3CDTF">2024-02-09T09:45:18Z</dcterms:created>
  <dcterms:modified xsi:type="dcterms:W3CDTF">2026-06-30T10:27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ACEACC4E1CDCF488D376413A381FD22</vt:lpwstr>
  </property>
  <property fmtid="{D5CDD505-2E9C-101B-9397-08002B2CF9AE}" pid="3" name="MediaServiceImageTags">
    <vt:lpwstr/>
  </property>
</Properties>
</file>